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ppt/diagrams/data8.xml" ContentType="application/vnd.openxmlformats-officedocument.drawingml.diagramData+xml"/>
  <Override PartName="/ppt/diagrams/layout8.xml" ContentType="application/vnd.openxmlformats-officedocument.drawingml.diagramLayout+xml"/>
  <Override PartName="/ppt/diagrams/quickStyle8.xml" ContentType="application/vnd.openxmlformats-officedocument.drawingml.diagramStyle+xml"/>
  <Override PartName="/ppt/diagrams/colors8.xml" ContentType="application/vnd.openxmlformats-officedocument.drawingml.diagramColors+xml"/>
  <Override PartName="/ppt/diagrams/drawing8.xml" ContentType="application/vnd.ms-office.drawingml.diagramDrawing+xml"/>
  <Override PartName="/ppt/diagrams/data9.xml" ContentType="application/vnd.openxmlformats-officedocument.drawingml.diagramData+xml"/>
  <Override PartName="/ppt/diagrams/layout9.xml" ContentType="application/vnd.openxmlformats-officedocument.drawingml.diagramLayout+xml"/>
  <Override PartName="/ppt/diagrams/quickStyle9.xml" ContentType="application/vnd.openxmlformats-officedocument.drawingml.diagramStyle+xml"/>
  <Override PartName="/ppt/diagrams/colors9.xml" ContentType="application/vnd.openxmlformats-officedocument.drawingml.diagramColors+xml"/>
  <Override PartName="/ppt/diagrams/drawing9.xml" ContentType="application/vnd.ms-office.drawingml.diagramDrawing+xml"/>
  <Override PartName="/ppt/diagrams/data10.xml" ContentType="application/vnd.openxmlformats-officedocument.drawingml.diagramData+xml"/>
  <Override PartName="/ppt/diagrams/layout10.xml" ContentType="application/vnd.openxmlformats-officedocument.drawingml.diagramLayout+xml"/>
  <Override PartName="/ppt/diagrams/quickStyle10.xml" ContentType="application/vnd.openxmlformats-officedocument.drawingml.diagramStyle+xml"/>
  <Override PartName="/ppt/diagrams/colors10.xml" ContentType="application/vnd.openxmlformats-officedocument.drawingml.diagramColors+xml"/>
  <Override PartName="/ppt/diagrams/drawing10.xml" ContentType="application/vnd.ms-office.drawingml.diagramDrawing+xml"/>
  <Override PartName="/ppt/diagrams/data11.xml" ContentType="application/vnd.openxmlformats-officedocument.drawingml.diagramData+xml"/>
  <Override PartName="/ppt/diagrams/layout11.xml" ContentType="application/vnd.openxmlformats-officedocument.drawingml.diagramLayout+xml"/>
  <Override PartName="/ppt/diagrams/quickStyle11.xml" ContentType="application/vnd.openxmlformats-officedocument.drawingml.diagramStyle+xml"/>
  <Override PartName="/ppt/diagrams/colors11.xml" ContentType="application/vnd.openxmlformats-officedocument.drawingml.diagramColors+xml"/>
  <Override PartName="/ppt/diagrams/drawing11.xml" ContentType="application/vnd.ms-office.drawingml.diagramDrawing+xml"/>
  <Override PartName="/ppt/diagrams/data12.xml" ContentType="application/vnd.openxmlformats-officedocument.drawingml.diagramData+xml"/>
  <Override PartName="/ppt/diagrams/layout12.xml" ContentType="application/vnd.openxmlformats-officedocument.drawingml.diagramLayout+xml"/>
  <Override PartName="/ppt/diagrams/quickStyle12.xml" ContentType="application/vnd.openxmlformats-officedocument.drawingml.diagramStyle+xml"/>
  <Override PartName="/ppt/diagrams/colors12.xml" ContentType="application/vnd.openxmlformats-officedocument.drawingml.diagramColors+xml"/>
  <Override PartName="/ppt/diagrams/drawing12.xml" ContentType="application/vnd.ms-office.drawingml.diagramDrawing+xml"/>
  <Override PartName="/ppt/charts/chart1.xml" ContentType="application/vnd.openxmlformats-officedocument.drawingml.chart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4"/>
  </p:notesMasterIdLst>
  <p:handoutMasterIdLst>
    <p:handoutMasterId r:id="rId25"/>
  </p:handoutMasterIdLst>
  <p:sldIdLst>
    <p:sldId id="270" r:id="rId2"/>
    <p:sldId id="326" r:id="rId3"/>
    <p:sldId id="314" r:id="rId4"/>
    <p:sldId id="315" r:id="rId5"/>
    <p:sldId id="316" r:id="rId6"/>
    <p:sldId id="317" r:id="rId7"/>
    <p:sldId id="318" r:id="rId8"/>
    <p:sldId id="319" r:id="rId9"/>
    <p:sldId id="320" r:id="rId10"/>
    <p:sldId id="321" r:id="rId11"/>
    <p:sldId id="322" r:id="rId12"/>
    <p:sldId id="323" r:id="rId13"/>
    <p:sldId id="324" r:id="rId14"/>
    <p:sldId id="325" r:id="rId15"/>
    <p:sldId id="309" r:id="rId16"/>
    <p:sldId id="327" r:id="rId17"/>
    <p:sldId id="328" r:id="rId18"/>
    <p:sldId id="302" r:id="rId19"/>
    <p:sldId id="330" r:id="rId20"/>
    <p:sldId id="329" r:id="rId21"/>
    <p:sldId id="295" r:id="rId22"/>
    <p:sldId id="281" r:id="rId23"/>
  </p:sldIdLst>
  <p:sldSz cx="12192000" cy="6858000"/>
  <p:notesSz cx="6761163" cy="9942513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95F172F-A856-3D4C-B549-37A69151F42C}">
          <p14:sldIdLst>
            <p14:sldId id="270"/>
            <p14:sldId id="326"/>
            <p14:sldId id="314"/>
            <p14:sldId id="315"/>
            <p14:sldId id="316"/>
            <p14:sldId id="317"/>
            <p14:sldId id="318"/>
            <p14:sldId id="319"/>
            <p14:sldId id="320"/>
            <p14:sldId id="321"/>
            <p14:sldId id="322"/>
            <p14:sldId id="323"/>
            <p14:sldId id="324"/>
            <p14:sldId id="325"/>
            <p14:sldId id="309"/>
            <p14:sldId id="327"/>
            <p14:sldId id="328"/>
            <p14:sldId id="302"/>
            <p14:sldId id="330"/>
            <p14:sldId id="329"/>
            <p14:sldId id="295"/>
            <p14:sldId id="281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65AF"/>
    <a:srgbClr val="6D276A"/>
    <a:srgbClr val="ECDFF5"/>
    <a:srgbClr val="3A6E8E"/>
    <a:srgbClr val="6F3191"/>
    <a:srgbClr val="71DAEB"/>
    <a:srgbClr val="CEDDF2"/>
    <a:srgbClr val="CAF3C5"/>
    <a:srgbClr val="1E5260"/>
    <a:srgbClr val="8853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7292A2E-F333-43FB-9621-5CBBE7FDCDCB}" styleName="Светлый стиль 2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4916" autoAdjust="0"/>
    <p:restoredTop sz="92745" autoAdjust="0"/>
  </p:normalViewPr>
  <p:slideViewPr>
    <p:cSldViewPr>
      <p:cViewPr varScale="1">
        <p:scale>
          <a:sx n="86" d="100"/>
          <a:sy n="86" d="100"/>
        </p:scale>
        <p:origin x="102" y="49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&#1050;&#1085;&#1080;&#1075;&#1072;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15"/>
    </mc:Choice>
    <mc:Fallback>
      <c:style val="15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invertIfNegative val="0"/>
          <c:dLbls>
            <c:dLbl>
              <c:idx val="0"/>
              <c:layout>
                <c:manualLayout>
                  <c:x val="-2.1372168031548039E-2"/>
                  <c:y val="0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&gt; </a:t>
                    </a:r>
                    <a:r>
                      <a:rPr lang="en-US" dirty="0" smtClean="0"/>
                      <a:t>750</a:t>
                    </a:r>
                    <a:br>
                      <a:rPr lang="en-US" dirty="0" smtClean="0"/>
                    </a:br>
                    <a:r>
                      <a:rPr lang="ru-RU" dirty="0" smtClean="0"/>
                      <a:t> </a:t>
                    </a:r>
                    <a:r>
                      <a:rPr lang="ru-RU" dirty="0"/>
                      <a:t>тыс. чел.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1"/>
              <c:layout>
                <c:manualLayout>
                  <c:x val="8.8159325420240076E-2"/>
                  <c:y val="1.391503791939139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&gt; </a:t>
                    </a:r>
                    <a:r>
                      <a:rPr lang="en-US" dirty="0" smtClean="0"/>
                      <a:t>500</a:t>
                    </a:r>
                    <a:br>
                      <a:rPr lang="en-US" dirty="0" smtClean="0"/>
                    </a:br>
                    <a:r>
                      <a:rPr lang="ru-RU" dirty="0" smtClean="0"/>
                      <a:t> </a:t>
                    </a:r>
                    <a:r>
                      <a:rPr lang="ru-RU" dirty="0"/>
                      <a:t>тыс. чел.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dLbl>
              <c:idx val="2"/>
              <c:layout>
                <c:manualLayout>
                  <c:x val="0.15761818787255014"/>
                  <c:y val="-4.638345973130468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&gt;</a:t>
                    </a:r>
                    <a:r>
                      <a:rPr lang="en-US" baseline="0" dirty="0"/>
                      <a:t> </a:t>
                    </a:r>
                    <a:r>
                      <a:rPr lang="ru-RU" dirty="0" smtClean="0"/>
                      <a:t>350</a:t>
                    </a:r>
                    <a:r>
                      <a:rPr lang="en-US" dirty="0" smtClean="0"/>
                      <a:t/>
                    </a:r>
                    <a:br>
                      <a:rPr lang="en-US" dirty="0" smtClean="0"/>
                    </a:br>
                    <a:r>
                      <a:rPr lang="ru-RU" dirty="0" smtClean="0"/>
                      <a:t> </a:t>
                    </a:r>
                    <a:r>
                      <a:rPr lang="ru-RU" dirty="0"/>
                      <a:t>тыс. чел.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Лист1!$F$12:$F$14</c:f>
              <c:strCache>
                <c:ptCount val="3"/>
                <c:pt idx="0">
                  <c:v>1С</c:v>
                </c:pt>
                <c:pt idx="1">
                  <c:v>1С</c:v>
                </c:pt>
                <c:pt idx="2">
                  <c:v>1С</c:v>
                </c:pt>
              </c:strCache>
            </c:strRef>
          </c:cat>
          <c:val>
            <c:numRef>
              <c:f>Лист1!$G$12:$G$14</c:f>
              <c:numCache>
                <c:formatCode>General</c:formatCode>
                <c:ptCount val="3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-547647424"/>
        <c:axId val="-547650688"/>
      </c:barChart>
      <c:catAx>
        <c:axId val="-547647424"/>
        <c:scaling>
          <c:orientation val="minMax"/>
        </c:scaling>
        <c:delete val="0"/>
        <c:axPos val="l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ru-RU"/>
          </a:p>
        </c:txPr>
        <c:crossAx val="-547650688"/>
        <c:crosses val="autoZero"/>
        <c:auto val="1"/>
        <c:lblAlgn val="ctr"/>
        <c:lblOffset val="100"/>
        <c:noMultiLvlLbl val="0"/>
      </c:catAx>
      <c:valAx>
        <c:axId val="-547650688"/>
        <c:scaling>
          <c:orientation val="minMax"/>
        </c:scaling>
        <c:delete val="0"/>
        <c:axPos val="b"/>
        <c:majorGridlines/>
        <c:numFmt formatCode="General" sourceLinked="1"/>
        <c:majorTickMark val="out"/>
        <c:minorTickMark val="none"/>
        <c:tickLblPos val="nextTo"/>
        <c:crossAx val="-547647424"/>
        <c:crosses val="autoZero"/>
        <c:crossBetween val="between"/>
        <c:majorUnit val="500"/>
      </c:valAx>
    </c:plotArea>
    <c:plotVisOnly val="1"/>
    <c:dispBlanksAs val="zero"/>
    <c:showDLblsOverMax val="0"/>
  </c:chart>
  <c:txPr>
    <a:bodyPr/>
    <a:lstStyle/>
    <a:p>
      <a:pPr>
        <a:defRPr sz="1050"/>
      </a:pPr>
      <a:endParaRPr lang="ru-RU"/>
    </a:p>
  </c:txPr>
  <c:externalData r:id="rId1">
    <c:autoUpdate val="0"/>
  </c:externalData>
</c:chartSpace>
</file>

<file path=ppt/diagrams/_rels/data9.xml.rels><?xml version="1.0" encoding="UTF-8" standalone="yes"?>
<Relationships xmlns="http://schemas.openxmlformats.org/package/2006/relationships"><Relationship Id="rId1" Type="http://schemas.openxmlformats.org/officeDocument/2006/relationships/image" Target="../media/image14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0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1.xml><?xml version="1.0" encoding="utf-8"?>
<dgm:colorsDef xmlns:dgm="http://schemas.openxmlformats.org/drawingml/2006/diagram" xmlns:a="http://schemas.openxmlformats.org/drawingml/2006/main" uniqueId="urn:microsoft.com/office/officeart/2005/8/colors/accent4_1">
  <dgm:title val=""/>
  <dgm:desc val=""/>
  <dgm:catLst>
    <dgm:cat type="accent4" pri="11100"/>
  </dgm:catLst>
  <dgm:styleLbl name="node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4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40000"/>
      </a:schemeClr>
    </dgm:fillClrLst>
    <dgm:linClrLst meth="repeat">
      <a:schemeClr val="accent4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4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4">
        <a:alpha val="4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4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4">
        <a:alpha val="90000"/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12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9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1E3D084-167E-40C2-8659-44E1F404BCF4}" type="doc">
      <dgm:prSet loTypeId="urn:microsoft.com/office/officeart/2005/8/layout/vList3#1" loCatId="list" qsTypeId="urn:microsoft.com/office/officeart/2005/8/quickstyle/simple1" qsCatId="simple" csTypeId="urn:microsoft.com/office/officeart/2005/8/colors/accent1_2" csCatId="accent1" phldr="1"/>
      <dgm:spPr/>
    </dgm:pt>
    <dgm:pt modelId="{CBC19750-790B-492F-AE2C-FE70C1FB7966}">
      <dgm:prSet phldrT="[Текст]"/>
      <dgm:spPr/>
      <dgm:t>
        <a:bodyPr/>
        <a:lstStyle/>
        <a:p>
          <a:r>
            <a:rPr lang="ru-RU" b="1" dirty="0" smtClean="0"/>
            <a:t>Приводят Стандарты в соответствие Федеральному закону «Об образовании в Российской Федерации»</a:t>
          </a:r>
          <a:endParaRPr lang="ru-RU" b="1" dirty="0"/>
        </a:p>
      </dgm:t>
    </dgm:pt>
    <dgm:pt modelId="{CB2C71FB-1047-4A96-B3D6-FC8437B1FF3B}" type="parTrans" cxnId="{034BFC3A-C1B8-4750-842E-85C5ECCFEA51}">
      <dgm:prSet/>
      <dgm:spPr/>
      <dgm:t>
        <a:bodyPr/>
        <a:lstStyle/>
        <a:p>
          <a:endParaRPr lang="ru-RU"/>
        </a:p>
      </dgm:t>
    </dgm:pt>
    <dgm:pt modelId="{E061FDF9-BBAA-4C5B-9846-0E4DDD2A904A}" type="sibTrans" cxnId="{034BFC3A-C1B8-4750-842E-85C5ECCFEA51}">
      <dgm:prSet/>
      <dgm:spPr/>
      <dgm:t>
        <a:bodyPr/>
        <a:lstStyle/>
        <a:p>
          <a:endParaRPr lang="ru-RU"/>
        </a:p>
      </dgm:t>
    </dgm:pt>
    <dgm:pt modelId="{EE203329-2D29-490D-A1E9-5CA2FF90974D}">
      <dgm:prSet phldrT="[Текст]"/>
      <dgm:spPr/>
      <dgm:t>
        <a:bodyPr/>
        <a:lstStyle/>
        <a:p>
          <a:r>
            <a:rPr lang="ru-RU" b="1" dirty="0" smtClean="0"/>
            <a:t>Устанавливают вариативность сроков реализации программ (не только в сторону увеличения, но и в сторону сокращения)</a:t>
          </a:r>
          <a:endParaRPr lang="ru-RU" b="1" dirty="0"/>
        </a:p>
      </dgm:t>
    </dgm:pt>
    <dgm:pt modelId="{4F2B0019-D9C6-46B1-A32E-77CFFE4BA668}" type="parTrans" cxnId="{210988BB-8A13-4E42-9438-D737F0D254B4}">
      <dgm:prSet/>
      <dgm:spPr/>
      <dgm:t>
        <a:bodyPr/>
        <a:lstStyle/>
        <a:p>
          <a:endParaRPr lang="ru-RU"/>
        </a:p>
      </dgm:t>
    </dgm:pt>
    <dgm:pt modelId="{FA75D23D-2C94-4BEE-B48B-24356280AF56}" type="sibTrans" cxnId="{210988BB-8A13-4E42-9438-D737F0D254B4}">
      <dgm:prSet/>
      <dgm:spPr/>
      <dgm:t>
        <a:bodyPr/>
        <a:lstStyle/>
        <a:p>
          <a:endParaRPr lang="ru-RU"/>
        </a:p>
      </dgm:t>
    </dgm:pt>
    <dgm:pt modelId="{D6277EE2-AE61-4110-8EAD-70D18264520A}">
      <dgm:prSet phldrT="[Текст]"/>
      <dgm:spPr/>
      <dgm:t>
        <a:bodyPr/>
        <a:lstStyle/>
        <a:p>
          <a:r>
            <a:rPr lang="ru-RU" b="1" dirty="0" smtClean="0"/>
            <a:t>Детализируют условия реализации образовательных программ</a:t>
          </a:r>
          <a:endParaRPr lang="ru-RU" b="1" dirty="0"/>
        </a:p>
      </dgm:t>
    </dgm:pt>
    <dgm:pt modelId="{3055115A-6549-4CAD-9C11-32C8367A7B95}" type="parTrans" cxnId="{EE53B479-323C-4319-9B93-CA4EC931BC50}">
      <dgm:prSet/>
      <dgm:spPr/>
      <dgm:t>
        <a:bodyPr/>
        <a:lstStyle/>
        <a:p>
          <a:endParaRPr lang="ru-RU"/>
        </a:p>
      </dgm:t>
    </dgm:pt>
    <dgm:pt modelId="{4F3A2CA1-4EC7-4D81-9F26-FAA2A86CD2BD}" type="sibTrans" cxnId="{EE53B479-323C-4319-9B93-CA4EC931BC50}">
      <dgm:prSet/>
      <dgm:spPr/>
      <dgm:t>
        <a:bodyPr/>
        <a:lstStyle/>
        <a:p>
          <a:endParaRPr lang="ru-RU"/>
        </a:p>
      </dgm:t>
    </dgm:pt>
    <dgm:pt modelId="{1665B3FA-C92F-4DF7-83CF-C8CDEA0ACCCA}">
      <dgm:prSet phldrT="[Текст]"/>
      <dgm:spPr/>
      <dgm:t>
        <a:bodyPr/>
        <a:lstStyle/>
        <a:p>
          <a:r>
            <a:rPr lang="ru-RU" b="1" dirty="0" smtClean="0"/>
            <a:t>Конкретизированные результаты систематизированы</a:t>
          </a:r>
          <a:endParaRPr lang="ru-RU" b="1" dirty="0"/>
        </a:p>
      </dgm:t>
    </dgm:pt>
    <dgm:pt modelId="{9FF1AC6C-D5A4-4349-8FB8-BDD8A58280E9}" type="parTrans" cxnId="{57F313DB-8548-42FB-8E30-13FA1E703448}">
      <dgm:prSet/>
      <dgm:spPr/>
      <dgm:t>
        <a:bodyPr/>
        <a:lstStyle/>
        <a:p>
          <a:endParaRPr lang="ru-RU"/>
        </a:p>
      </dgm:t>
    </dgm:pt>
    <dgm:pt modelId="{E55062A5-A954-4612-81FC-29154B57D580}" type="sibTrans" cxnId="{57F313DB-8548-42FB-8E30-13FA1E703448}">
      <dgm:prSet/>
      <dgm:spPr/>
      <dgm:t>
        <a:bodyPr/>
        <a:lstStyle/>
        <a:p>
          <a:endParaRPr lang="ru-RU"/>
        </a:p>
      </dgm:t>
    </dgm:pt>
    <dgm:pt modelId="{E4D5B25E-E548-42A5-8D86-F5A0AB08AB43}">
      <dgm:prSet phldrT="[Текст]"/>
      <dgm:spPr/>
      <dgm:t>
        <a:bodyPr/>
        <a:lstStyle/>
        <a:p>
          <a:r>
            <a:rPr lang="ru-RU" b="1" dirty="0" smtClean="0"/>
            <a:t>Оптимизированы требования к основной образовательной программе и рабочей программе</a:t>
          </a:r>
          <a:endParaRPr lang="ru-RU" b="1" dirty="0"/>
        </a:p>
      </dgm:t>
    </dgm:pt>
    <dgm:pt modelId="{BE40DE07-E645-47D4-8656-ABF007EAADBB}" type="parTrans" cxnId="{398197C9-7390-4486-A1CE-A74A47C84D74}">
      <dgm:prSet/>
      <dgm:spPr/>
      <dgm:t>
        <a:bodyPr/>
        <a:lstStyle/>
        <a:p>
          <a:endParaRPr lang="ru-RU"/>
        </a:p>
      </dgm:t>
    </dgm:pt>
    <dgm:pt modelId="{8425DE50-BBA1-4C0C-983B-168309374758}" type="sibTrans" cxnId="{398197C9-7390-4486-A1CE-A74A47C84D74}">
      <dgm:prSet/>
      <dgm:spPr/>
      <dgm:t>
        <a:bodyPr/>
        <a:lstStyle/>
        <a:p>
          <a:endParaRPr lang="ru-RU"/>
        </a:p>
      </dgm:t>
    </dgm:pt>
    <dgm:pt modelId="{436A8D63-25FA-4B2F-9A8A-7725281433DA}" type="pres">
      <dgm:prSet presAssocID="{E1E3D084-167E-40C2-8659-44E1F404BCF4}" presName="linearFlow" presStyleCnt="0">
        <dgm:presLayoutVars>
          <dgm:dir/>
          <dgm:resizeHandles val="exact"/>
        </dgm:presLayoutVars>
      </dgm:prSet>
      <dgm:spPr/>
    </dgm:pt>
    <dgm:pt modelId="{245634B0-5FCA-4431-9B4F-D20447BC7E81}" type="pres">
      <dgm:prSet presAssocID="{CBC19750-790B-492F-AE2C-FE70C1FB7966}" presName="composite" presStyleCnt="0"/>
      <dgm:spPr/>
    </dgm:pt>
    <dgm:pt modelId="{D70063F8-C528-483C-AD20-4E7A89AC5203}" type="pres">
      <dgm:prSet presAssocID="{CBC19750-790B-492F-AE2C-FE70C1FB7966}" presName="imgShp" presStyleLbl="fgImgPlace1" presStyleIdx="0" presStyleCnt="5"/>
      <dgm:spPr/>
    </dgm:pt>
    <dgm:pt modelId="{4A85AF50-5745-462E-B3F5-F5BB1FF3D929}" type="pres">
      <dgm:prSet presAssocID="{CBC19750-790B-492F-AE2C-FE70C1FB7966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DC9BA2B-276F-42F7-AD86-F7ED9361CF8C}" type="pres">
      <dgm:prSet presAssocID="{E061FDF9-BBAA-4C5B-9846-0E4DDD2A904A}" presName="spacing" presStyleCnt="0"/>
      <dgm:spPr/>
    </dgm:pt>
    <dgm:pt modelId="{E852979E-A0D6-4907-B3B7-294B85BE65AB}" type="pres">
      <dgm:prSet presAssocID="{EE203329-2D29-490D-A1E9-5CA2FF90974D}" presName="composite" presStyleCnt="0"/>
      <dgm:spPr/>
    </dgm:pt>
    <dgm:pt modelId="{882EBED3-67CB-48C0-9A8A-CF00ECABFA2F}" type="pres">
      <dgm:prSet presAssocID="{EE203329-2D29-490D-A1E9-5CA2FF90974D}" presName="imgShp" presStyleLbl="fgImgPlace1" presStyleIdx="1" presStyleCnt="5"/>
      <dgm:spPr/>
    </dgm:pt>
    <dgm:pt modelId="{CEAB6048-6E47-4424-9B83-5B1CC3B5BE94}" type="pres">
      <dgm:prSet presAssocID="{EE203329-2D29-490D-A1E9-5CA2FF90974D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18997F9-FEF7-4485-8866-D6DA3A69784E}" type="pres">
      <dgm:prSet presAssocID="{FA75D23D-2C94-4BEE-B48B-24356280AF56}" presName="spacing" presStyleCnt="0"/>
      <dgm:spPr/>
    </dgm:pt>
    <dgm:pt modelId="{62FB1515-98BD-4214-B2A9-8FB78AE476D6}" type="pres">
      <dgm:prSet presAssocID="{D6277EE2-AE61-4110-8EAD-70D18264520A}" presName="composite" presStyleCnt="0"/>
      <dgm:spPr/>
    </dgm:pt>
    <dgm:pt modelId="{2C610414-54B6-4584-9FC6-F13826B28C44}" type="pres">
      <dgm:prSet presAssocID="{D6277EE2-AE61-4110-8EAD-70D18264520A}" presName="imgShp" presStyleLbl="fgImgPlace1" presStyleIdx="2" presStyleCnt="5"/>
      <dgm:spPr/>
    </dgm:pt>
    <dgm:pt modelId="{28FB2F4F-BA4C-4562-A17B-A5C3A3F32E49}" type="pres">
      <dgm:prSet presAssocID="{D6277EE2-AE61-4110-8EAD-70D18264520A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625D25B-3533-4C23-8E74-A3F1D353995C}" type="pres">
      <dgm:prSet presAssocID="{4F3A2CA1-4EC7-4D81-9F26-FAA2A86CD2BD}" presName="spacing" presStyleCnt="0"/>
      <dgm:spPr/>
    </dgm:pt>
    <dgm:pt modelId="{052A72E7-BA77-40F2-854C-A25674D9BE38}" type="pres">
      <dgm:prSet presAssocID="{1665B3FA-C92F-4DF7-83CF-C8CDEA0ACCCA}" presName="composite" presStyleCnt="0"/>
      <dgm:spPr/>
    </dgm:pt>
    <dgm:pt modelId="{08AD5DFB-D576-4FB2-BD41-9A88C71746BA}" type="pres">
      <dgm:prSet presAssocID="{1665B3FA-C92F-4DF7-83CF-C8CDEA0ACCCA}" presName="imgShp" presStyleLbl="fgImgPlace1" presStyleIdx="3" presStyleCnt="5"/>
      <dgm:spPr/>
    </dgm:pt>
    <dgm:pt modelId="{242FDBD9-48C9-450C-BE74-D9FBF9E6611A}" type="pres">
      <dgm:prSet presAssocID="{1665B3FA-C92F-4DF7-83CF-C8CDEA0ACCCA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C92E749-BEA4-49B9-A9A8-E8C4BCF5B5FC}" type="pres">
      <dgm:prSet presAssocID="{E55062A5-A954-4612-81FC-29154B57D580}" presName="spacing" presStyleCnt="0"/>
      <dgm:spPr/>
    </dgm:pt>
    <dgm:pt modelId="{689C89D0-B1C4-475F-B283-FBB420D07993}" type="pres">
      <dgm:prSet presAssocID="{E4D5B25E-E548-42A5-8D86-F5A0AB08AB43}" presName="composite" presStyleCnt="0"/>
      <dgm:spPr/>
    </dgm:pt>
    <dgm:pt modelId="{A7D66691-5C99-4FC2-BAF5-3873AB15A5A1}" type="pres">
      <dgm:prSet presAssocID="{E4D5B25E-E548-42A5-8D86-F5A0AB08AB43}" presName="imgShp" presStyleLbl="fgImgPlace1" presStyleIdx="4" presStyleCnt="5"/>
      <dgm:spPr/>
    </dgm:pt>
    <dgm:pt modelId="{622B7019-8CA6-4E53-B10B-45BB83348792}" type="pres">
      <dgm:prSet presAssocID="{E4D5B25E-E548-42A5-8D86-F5A0AB08AB43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034BFC3A-C1B8-4750-842E-85C5ECCFEA51}" srcId="{E1E3D084-167E-40C2-8659-44E1F404BCF4}" destId="{CBC19750-790B-492F-AE2C-FE70C1FB7966}" srcOrd="0" destOrd="0" parTransId="{CB2C71FB-1047-4A96-B3D6-FC8437B1FF3B}" sibTransId="{E061FDF9-BBAA-4C5B-9846-0E4DDD2A904A}"/>
    <dgm:cxn modelId="{398197C9-7390-4486-A1CE-A74A47C84D74}" srcId="{E1E3D084-167E-40C2-8659-44E1F404BCF4}" destId="{E4D5B25E-E548-42A5-8D86-F5A0AB08AB43}" srcOrd="4" destOrd="0" parTransId="{BE40DE07-E645-47D4-8656-ABF007EAADBB}" sibTransId="{8425DE50-BBA1-4C0C-983B-168309374758}"/>
    <dgm:cxn modelId="{775409D9-0B4F-4836-8D2F-5FAB20D158C4}" type="presOf" srcId="{D6277EE2-AE61-4110-8EAD-70D18264520A}" destId="{28FB2F4F-BA4C-4562-A17B-A5C3A3F32E49}" srcOrd="0" destOrd="0" presId="urn:microsoft.com/office/officeart/2005/8/layout/vList3#1"/>
    <dgm:cxn modelId="{278F72F3-7912-4541-9DB2-999A869152C9}" type="presOf" srcId="{1665B3FA-C92F-4DF7-83CF-C8CDEA0ACCCA}" destId="{242FDBD9-48C9-450C-BE74-D9FBF9E6611A}" srcOrd="0" destOrd="0" presId="urn:microsoft.com/office/officeart/2005/8/layout/vList3#1"/>
    <dgm:cxn modelId="{B9D79275-22E4-4AEA-BB80-3B433B86FEB3}" type="presOf" srcId="{E4D5B25E-E548-42A5-8D86-F5A0AB08AB43}" destId="{622B7019-8CA6-4E53-B10B-45BB83348792}" srcOrd="0" destOrd="0" presId="urn:microsoft.com/office/officeart/2005/8/layout/vList3#1"/>
    <dgm:cxn modelId="{29237692-8773-4015-A8C9-91454CA1B301}" type="presOf" srcId="{CBC19750-790B-492F-AE2C-FE70C1FB7966}" destId="{4A85AF50-5745-462E-B3F5-F5BB1FF3D929}" srcOrd="0" destOrd="0" presId="urn:microsoft.com/office/officeart/2005/8/layout/vList3#1"/>
    <dgm:cxn modelId="{57F313DB-8548-42FB-8E30-13FA1E703448}" srcId="{E1E3D084-167E-40C2-8659-44E1F404BCF4}" destId="{1665B3FA-C92F-4DF7-83CF-C8CDEA0ACCCA}" srcOrd="3" destOrd="0" parTransId="{9FF1AC6C-D5A4-4349-8FB8-BDD8A58280E9}" sibTransId="{E55062A5-A954-4612-81FC-29154B57D580}"/>
    <dgm:cxn modelId="{04471099-E3BF-4E9D-8D5E-0ACFF3BF5092}" type="presOf" srcId="{EE203329-2D29-490D-A1E9-5CA2FF90974D}" destId="{CEAB6048-6E47-4424-9B83-5B1CC3B5BE94}" srcOrd="0" destOrd="0" presId="urn:microsoft.com/office/officeart/2005/8/layout/vList3#1"/>
    <dgm:cxn modelId="{210988BB-8A13-4E42-9438-D737F0D254B4}" srcId="{E1E3D084-167E-40C2-8659-44E1F404BCF4}" destId="{EE203329-2D29-490D-A1E9-5CA2FF90974D}" srcOrd="1" destOrd="0" parTransId="{4F2B0019-D9C6-46B1-A32E-77CFFE4BA668}" sibTransId="{FA75D23D-2C94-4BEE-B48B-24356280AF56}"/>
    <dgm:cxn modelId="{678F0277-84E1-4095-92E4-BCEED33A748A}" type="presOf" srcId="{E1E3D084-167E-40C2-8659-44E1F404BCF4}" destId="{436A8D63-25FA-4B2F-9A8A-7725281433DA}" srcOrd="0" destOrd="0" presId="urn:microsoft.com/office/officeart/2005/8/layout/vList3#1"/>
    <dgm:cxn modelId="{EE53B479-323C-4319-9B93-CA4EC931BC50}" srcId="{E1E3D084-167E-40C2-8659-44E1F404BCF4}" destId="{D6277EE2-AE61-4110-8EAD-70D18264520A}" srcOrd="2" destOrd="0" parTransId="{3055115A-6549-4CAD-9C11-32C8367A7B95}" sibTransId="{4F3A2CA1-4EC7-4D81-9F26-FAA2A86CD2BD}"/>
    <dgm:cxn modelId="{98CB0C23-4444-469D-8C92-91A66D4BD746}" type="presParOf" srcId="{436A8D63-25FA-4B2F-9A8A-7725281433DA}" destId="{245634B0-5FCA-4431-9B4F-D20447BC7E81}" srcOrd="0" destOrd="0" presId="urn:microsoft.com/office/officeart/2005/8/layout/vList3#1"/>
    <dgm:cxn modelId="{B5B3256A-0B8C-4EFA-8A5D-513EF2F9948A}" type="presParOf" srcId="{245634B0-5FCA-4431-9B4F-D20447BC7E81}" destId="{D70063F8-C528-483C-AD20-4E7A89AC5203}" srcOrd="0" destOrd="0" presId="urn:microsoft.com/office/officeart/2005/8/layout/vList3#1"/>
    <dgm:cxn modelId="{BE0E371D-194E-4AC3-88BE-A3B2B5FB10D0}" type="presParOf" srcId="{245634B0-5FCA-4431-9B4F-D20447BC7E81}" destId="{4A85AF50-5745-462E-B3F5-F5BB1FF3D929}" srcOrd="1" destOrd="0" presId="urn:microsoft.com/office/officeart/2005/8/layout/vList3#1"/>
    <dgm:cxn modelId="{36D2C242-2B51-4954-94D4-1E9D12BA88A4}" type="presParOf" srcId="{436A8D63-25FA-4B2F-9A8A-7725281433DA}" destId="{FDC9BA2B-276F-42F7-AD86-F7ED9361CF8C}" srcOrd="1" destOrd="0" presId="urn:microsoft.com/office/officeart/2005/8/layout/vList3#1"/>
    <dgm:cxn modelId="{59FD05BE-2FD2-47A5-9556-0954B04FA80C}" type="presParOf" srcId="{436A8D63-25FA-4B2F-9A8A-7725281433DA}" destId="{E852979E-A0D6-4907-B3B7-294B85BE65AB}" srcOrd="2" destOrd="0" presId="urn:microsoft.com/office/officeart/2005/8/layout/vList3#1"/>
    <dgm:cxn modelId="{2CC55226-FEF4-4805-BE18-A75B49C4728A}" type="presParOf" srcId="{E852979E-A0D6-4907-B3B7-294B85BE65AB}" destId="{882EBED3-67CB-48C0-9A8A-CF00ECABFA2F}" srcOrd="0" destOrd="0" presId="urn:microsoft.com/office/officeart/2005/8/layout/vList3#1"/>
    <dgm:cxn modelId="{C6F39D52-7F37-4369-95FA-7B147EF8A90A}" type="presParOf" srcId="{E852979E-A0D6-4907-B3B7-294B85BE65AB}" destId="{CEAB6048-6E47-4424-9B83-5B1CC3B5BE94}" srcOrd="1" destOrd="0" presId="urn:microsoft.com/office/officeart/2005/8/layout/vList3#1"/>
    <dgm:cxn modelId="{1E3135FF-C6BE-49FB-B0AC-24B770638709}" type="presParOf" srcId="{436A8D63-25FA-4B2F-9A8A-7725281433DA}" destId="{118997F9-FEF7-4485-8866-D6DA3A69784E}" srcOrd="3" destOrd="0" presId="urn:microsoft.com/office/officeart/2005/8/layout/vList3#1"/>
    <dgm:cxn modelId="{E5BAA24B-4EAB-40CA-BF60-EEA9E5BDD8CC}" type="presParOf" srcId="{436A8D63-25FA-4B2F-9A8A-7725281433DA}" destId="{62FB1515-98BD-4214-B2A9-8FB78AE476D6}" srcOrd="4" destOrd="0" presId="urn:microsoft.com/office/officeart/2005/8/layout/vList3#1"/>
    <dgm:cxn modelId="{B9B2B3AA-D536-4072-9B99-721DE6373DF0}" type="presParOf" srcId="{62FB1515-98BD-4214-B2A9-8FB78AE476D6}" destId="{2C610414-54B6-4584-9FC6-F13826B28C44}" srcOrd="0" destOrd="0" presId="urn:microsoft.com/office/officeart/2005/8/layout/vList3#1"/>
    <dgm:cxn modelId="{9128C13A-8330-4BD9-A159-881E0A5EF969}" type="presParOf" srcId="{62FB1515-98BD-4214-B2A9-8FB78AE476D6}" destId="{28FB2F4F-BA4C-4562-A17B-A5C3A3F32E49}" srcOrd="1" destOrd="0" presId="urn:microsoft.com/office/officeart/2005/8/layout/vList3#1"/>
    <dgm:cxn modelId="{5D036E88-312F-47A9-8B50-F0FC187B0716}" type="presParOf" srcId="{436A8D63-25FA-4B2F-9A8A-7725281433DA}" destId="{E625D25B-3533-4C23-8E74-A3F1D353995C}" srcOrd="5" destOrd="0" presId="urn:microsoft.com/office/officeart/2005/8/layout/vList3#1"/>
    <dgm:cxn modelId="{1E2EB67B-479F-4E40-8257-407AE724F3E7}" type="presParOf" srcId="{436A8D63-25FA-4B2F-9A8A-7725281433DA}" destId="{052A72E7-BA77-40F2-854C-A25674D9BE38}" srcOrd="6" destOrd="0" presId="urn:microsoft.com/office/officeart/2005/8/layout/vList3#1"/>
    <dgm:cxn modelId="{D7423C83-D747-4FEA-82EF-D408254C59FE}" type="presParOf" srcId="{052A72E7-BA77-40F2-854C-A25674D9BE38}" destId="{08AD5DFB-D576-4FB2-BD41-9A88C71746BA}" srcOrd="0" destOrd="0" presId="urn:microsoft.com/office/officeart/2005/8/layout/vList3#1"/>
    <dgm:cxn modelId="{67E1F8C6-C6B5-4CCB-BF29-0B68FA121B8E}" type="presParOf" srcId="{052A72E7-BA77-40F2-854C-A25674D9BE38}" destId="{242FDBD9-48C9-450C-BE74-D9FBF9E6611A}" srcOrd="1" destOrd="0" presId="urn:microsoft.com/office/officeart/2005/8/layout/vList3#1"/>
    <dgm:cxn modelId="{126C1AF8-B008-456F-BEF5-FA3562E11C00}" type="presParOf" srcId="{436A8D63-25FA-4B2F-9A8A-7725281433DA}" destId="{6C92E749-BEA4-49B9-A9A8-E8C4BCF5B5FC}" srcOrd="7" destOrd="0" presId="urn:microsoft.com/office/officeart/2005/8/layout/vList3#1"/>
    <dgm:cxn modelId="{6E0B4E1B-4AB5-48BA-8F3D-99A86D2FDE26}" type="presParOf" srcId="{436A8D63-25FA-4B2F-9A8A-7725281433DA}" destId="{689C89D0-B1C4-475F-B283-FBB420D07993}" srcOrd="8" destOrd="0" presId="urn:microsoft.com/office/officeart/2005/8/layout/vList3#1"/>
    <dgm:cxn modelId="{F85BE036-B30A-44BA-80BD-2629EDA95AC5}" type="presParOf" srcId="{689C89D0-B1C4-475F-B283-FBB420D07993}" destId="{A7D66691-5C99-4FC2-BAF5-3873AB15A5A1}" srcOrd="0" destOrd="0" presId="urn:microsoft.com/office/officeart/2005/8/layout/vList3#1"/>
    <dgm:cxn modelId="{33F87C92-BCF0-482F-8D27-10C94A378D54}" type="presParOf" srcId="{689C89D0-B1C4-475F-B283-FBB420D07993}" destId="{622B7019-8CA6-4E53-B10B-45BB83348792}" srcOrd="1" destOrd="0" presId="urn:microsoft.com/office/officeart/2005/8/layout/vList3#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10.xml><?xml version="1.0" encoding="utf-8"?>
<dgm:dataModel xmlns:dgm="http://schemas.openxmlformats.org/drawingml/2006/diagram" xmlns:a="http://schemas.openxmlformats.org/drawingml/2006/main">
  <dgm:ptLst>
    <dgm:pt modelId="{DD2C483B-DEF3-4F9E-8824-04CFEBE4115C}" type="doc">
      <dgm:prSet loTypeId="urn:microsoft.com/office/officeart/2005/8/layout/bProcess4" loCatId="process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ru-RU"/>
        </a:p>
      </dgm:t>
    </dgm:pt>
    <dgm:pt modelId="{82CAAE10-5723-4380-A526-AE2D20013051}">
      <dgm:prSet custT="1"/>
      <dgm:spPr/>
      <dgm:t>
        <a:bodyPr/>
        <a:lstStyle/>
        <a:p>
          <a:r>
            <a:rPr lang="ru-RU" sz="1600" dirty="0" smtClean="0"/>
            <a:t>14 примерных рабочих программ </a:t>
          </a:r>
          <a:br>
            <a:rPr lang="ru-RU" sz="1600" dirty="0" smtClean="0"/>
          </a:br>
          <a:r>
            <a:rPr lang="ru-RU" sz="1600" dirty="0" smtClean="0"/>
            <a:t>по учебным предметам НОО </a:t>
          </a:r>
          <a:br>
            <a:rPr lang="ru-RU" sz="1600" dirty="0" smtClean="0"/>
          </a:br>
          <a:r>
            <a:rPr lang="ru-RU" sz="1600" b="1" dirty="0" smtClean="0"/>
            <a:t>1-4 классы</a:t>
          </a:r>
          <a:endParaRPr lang="ru-RU" sz="1600" b="1" dirty="0"/>
        </a:p>
      </dgm:t>
    </dgm:pt>
    <dgm:pt modelId="{969AE7C1-F472-4B99-82F4-50B126921B3F}" type="parTrans" cxnId="{872D9642-542C-4AD6-8874-F18E10A4A43A}">
      <dgm:prSet/>
      <dgm:spPr/>
      <dgm:t>
        <a:bodyPr/>
        <a:lstStyle/>
        <a:p>
          <a:endParaRPr lang="ru-RU" sz="2000"/>
        </a:p>
      </dgm:t>
    </dgm:pt>
    <dgm:pt modelId="{4E2B6C4B-2301-4F0F-B4F5-DAC4004D38F9}" type="sibTrans" cxnId="{872D9642-542C-4AD6-8874-F18E10A4A43A}">
      <dgm:prSet/>
      <dgm:spPr/>
      <dgm:t>
        <a:bodyPr/>
        <a:lstStyle/>
        <a:p>
          <a:endParaRPr lang="ru-RU" sz="2000"/>
        </a:p>
      </dgm:t>
    </dgm:pt>
    <dgm:pt modelId="{195482B0-B490-44DF-8482-85F0F52F1980}">
      <dgm:prSet custT="1"/>
      <dgm:spPr/>
      <dgm:t>
        <a:bodyPr/>
        <a:lstStyle/>
        <a:p>
          <a:r>
            <a:rPr lang="ru-RU" sz="1600" dirty="0" smtClean="0"/>
            <a:t>21 примерная рабочая программа </a:t>
          </a:r>
          <a:br>
            <a:rPr lang="ru-RU" sz="1600" dirty="0" smtClean="0"/>
          </a:br>
          <a:r>
            <a:rPr lang="ru-RU" sz="1600" dirty="0" smtClean="0"/>
            <a:t>по учебным предметам ООО </a:t>
          </a:r>
          <a:br>
            <a:rPr lang="ru-RU" sz="1600" dirty="0" smtClean="0"/>
          </a:br>
          <a:r>
            <a:rPr lang="ru-RU" sz="1600" b="1" dirty="0" smtClean="0"/>
            <a:t>5-9 классы</a:t>
          </a:r>
          <a:endParaRPr lang="ru-RU" sz="1600" b="1" dirty="0"/>
        </a:p>
      </dgm:t>
    </dgm:pt>
    <dgm:pt modelId="{7CD7724C-5E40-44DA-BAD4-34A95434241A}" type="parTrans" cxnId="{0F5E4FBB-45AE-461A-8229-1C09B28394CC}">
      <dgm:prSet/>
      <dgm:spPr/>
      <dgm:t>
        <a:bodyPr/>
        <a:lstStyle/>
        <a:p>
          <a:endParaRPr lang="ru-RU" sz="2000"/>
        </a:p>
      </dgm:t>
    </dgm:pt>
    <dgm:pt modelId="{FA3D71E7-A0F4-4C3F-AF18-A27792A260DC}" type="sibTrans" cxnId="{0F5E4FBB-45AE-461A-8229-1C09B28394CC}">
      <dgm:prSet/>
      <dgm:spPr/>
      <dgm:t>
        <a:bodyPr/>
        <a:lstStyle/>
        <a:p>
          <a:endParaRPr lang="ru-RU" sz="2000"/>
        </a:p>
      </dgm:t>
    </dgm:pt>
    <dgm:pt modelId="{604DA1F8-00A9-4EE0-8C9F-E123BFDE1B8F}">
      <dgm:prSet custT="1"/>
      <dgm:spPr/>
      <dgm:t>
        <a:bodyPr/>
        <a:lstStyle/>
        <a:p>
          <a:r>
            <a:rPr lang="ru-RU" sz="1600" dirty="0" smtClean="0"/>
            <a:t>Универсальный тематический классификатор для контента ЦОС </a:t>
          </a:r>
          <a:br>
            <a:rPr lang="ru-RU" sz="1600" dirty="0" smtClean="0"/>
          </a:br>
          <a:r>
            <a:rPr lang="ru-RU" sz="1600" dirty="0" smtClean="0"/>
            <a:t>Все предметы, </a:t>
          </a:r>
          <a:r>
            <a:rPr lang="ru-RU" sz="1600" b="1" dirty="0" smtClean="0"/>
            <a:t>1-11 классы</a:t>
          </a:r>
          <a:endParaRPr lang="ru-RU" sz="1600" b="1" dirty="0"/>
        </a:p>
      </dgm:t>
    </dgm:pt>
    <dgm:pt modelId="{7EB6C0C7-C183-4FD4-9193-1687B8E88117}" type="parTrans" cxnId="{B5638432-7594-4B68-AA1F-CEC8E05790A5}">
      <dgm:prSet/>
      <dgm:spPr/>
      <dgm:t>
        <a:bodyPr/>
        <a:lstStyle/>
        <a:p>
          <a:endParaRPr lang="ru-RU" sz="2000"/>
        </a:p>
      </dgm:t>
    </dgm:pt>
    <dgm:pt modelId="{28037D71-0ADF-4155-A33A-E91BD443843C}" type="sibTrans" cxnId="{B5638432-7594-4B68-AA1F-CEC8E05790A5}">
      <dgm:prSet/>
      <dgm:spPr/>
      <dgm:t>
        <a:bodyPr/>
        <a:lstStyle/>
        <a:p>
          <a:endParaRPr lang="ru-RU" sz="2000"/>
        </a:p>
      </dgm:t>
    </dgm:pt>
    <dgm:pt modelId="{0F31440F-B09C-4D4C-8A81-7193F22BAF79}">
      <dgm:prSet custT="1"/>
      <dgm:spPr/>
      <dgm:t>
        <a:bodyPr/>
        <a:lstStyle/>
        <a:p>
          <a:r>
            <a:rPr lang="ru-RU" sz="1600" dirty="0" smtClean="0"/>
            <a:t>Апробация рабочих программ </a:t>
          </a:r>
          <a:br>
            <a:rPr lang="ru-RU" sz="1600" dirty="0" smtClean="0"/>
          </a:br>
          <a:r>
            <a:rPr lang="ru-RU" sz="1600" dirty="0" smtClean="0"/>
            <a:t>с 1 сентября 2021 г. </a:t>
          </a:r>
          <a:br>
            <a:rPr lang="ru-RU" sz="1600" dirty="0" smtClean="0"/>
          </a:br>
          <a:r>
            <a:rPr lang="ru-RU" sz="1600" b="1" dirty="0" smtClean="0"/>
            <a:t>25 субъектов РФ</a:t>
          </a:r>
          <a:endParaRPr lang="ru-RU" sz="1600" b="1" dirty="0"/>
        </a:p>
      </dgm:t>
    </dgm:pt>
    <dgm:pt modelId="{A35499C4-ED32-405B-8459-ACD81938E8F3}" type="parTrans" cxnId="{D45485C9-0B9A-4470-924F-313BF642E913}">
      <dgm:prSet/>
      <dgm:spPr/>
      <dgm:t>
        <a:bodyPr/>
        <a:lstStyle/>
        <a:p>
          <a:endParaRPr lang="ru-RU" sz="2000"/>
        </a:p>
      </dgm:t>
    </dgm:pt>
    <dgm:pt modelId="{BFF6522D-0935-4828-98D2-520368E3B3B3}" type="sibTrans" cxnId="{D45485C9-0B9A-4470-924F-313BF642E913}">
      <dgm:prSet/>
      <dgm:spPr/>
      <dgm:t>
        <a:bodyPr/>
        <a:lstStyle/>
        <a:p>
          <a:endParaRPr lang="ru-RU" sz="2000"/>
        </a:p>
      </dgm:t>
    </dgm:pt>
    <dgm:pt modelId="{897BCD55-B6FA-4EA9-853A-61C0D26BBBDE}">
      <dgm:prSet custT="1"/>
      <dgm:spPr/>
      <dgm:t>
        <a:bodyPr/>
        <a:lstStyle/>
        <a:p>
          <a:r>
            <a:rPr lang="ru-RU" sz="1600" dirty="0" smtClean="0"/>
            <a:t>Серия всероссийских просветительских мероприятий </a:t>
          </a:r>
          <a:br>
            <a:rPr lang="ru-RU" sz="1600" dirty="0" smtClean="0"/>
          </a:br>
          <a:r>
            <a:rPr lang="ru-RU" sz="1600" b="1" dirty="0" smtClean="0"/>
            <a:t>&gt;300 000 участников</a:t>
          </a:r>
          <a:endParaRPr lang="ru-RU" sz="1600" b="1" dirty="0"/>
        </a:p>
      </dgm:t>
    </dgm:pt>
    <dgm:pt modelId="{85B6C014-0ACC-4FDA-B5AA-DAFC6E1DD282}" type="parTrans" cxnId="{6D53135C-3A89-4B20-98F4-24CE311B4F87}">
      <dgm:prSet/>
      <dgm:spPr/>
      <dgm:t>
        <a:bodyPr/>
        <a:lstStyle/>
        <a:p>
          <a:endParaRPr lang="ru-RU" sz="2000"/>
        </a:p>
      </dgm:t>
    </dgm:pt>
    <dgm:pt modelId="{24D81BB4-BC15-411B-BBDE-5D939C52AF3B}" type="sibTrans" cxnId="{6D53135C-3A89-4B20-98F4-24CE311B4F87}">
      <dgm:prSet/>
      <dgm:spPr/>
      <dgm:t>
        <a:bodyPr/>
        <a:lstStyle/>
        <a:p>
          <a:endParaRPr lang="ru-RU" sz="2000"/>
        </a:p>
      </dgm:t>
    </dgm:pt>
    <dgm:pt modelId="{6BEFE141-1458-4356-B17E-7094A2C6E73C}">
      <dgm:prSet custT="1"/>
      <dgm:spPr/>
      <dgm:t>
        <a:bodyPr/>
        <a:lstStyle/>
        <a:p>
          <a:r>
            <a:rPr lang="ru-RU" sz="1600" dirty="0" smtClean="0"/>
            <a:t>Всероссийские образовательные события, Федеральные уроки </a:t>
          </a:r>
          <a:br>
            <a:rPr lang="ru-RU" sz="1600" dirty="0" smtClean="0"/>
          </a:br>
          <a:r>
            <a:rPr lang="ru-RU" sz="1600" b="1" dirty="0" smtClean="0"/>
            <a:t>&gt;40 000 школ</a:t>
          </a:r>
          <a:endParaRPr lang="ru-RU" sz="1600" b="1" dirty="0"/>
        </a:p>
      </dgm:t>
    </dgm:pt>
    <dgm:pt modelId="{EEFB2753-9C25-4DF6-BA5D-9082E64F86D7}" type="parTrans" cxnId="{16362EE2-845C-467E-B9FB-6467BBCACF84}">
      <dgm:prSet/>
      <dgm:spPr/>
      <dgm:t>
        <a:bodyPr/>
        <a:lstStyle/>
        <a:p>
          <a:endParaRPr lang="ru-RU" sz="2000"/>
        </a:p>
      </dgm:t>
    </dgm:pt>
    <dgm:pt modelId="{02DE10F7-F4CB-44EB-B18E-957717E3A54C}" type="sibTrans" cxnId="{16362EE2-845C-467E-B9FB-6467BBCACF84}">
      <dgm:prSet/>
      <dgm:spPr/>
      <dgm:t>
        <a:bodyPr/>
        <a:lstStyle/>
        <a:p>
          <a:endParaRPr lang="ru-RU" sz="2000"/>
        </a:p>
      </dgm:t>
    </dgm:pt>
    <dgm:pt modelId="{C9D39B06-9D81-4947-A58C-F5E02933B85A}">
      <dgm:prSet custT="1"/>
      <dgm:spPr/>
      <dgm:t>
        <a:bodyPr/>
        <a:lstStyle/>
        <a:p>
          <a:r>
            <a:rPr lang="ru-RU" sz="1600" dirty="0" smtClean="0"/>
            <a:t>Адресная помощь школам: методические пособия </a:t>
          </a:r>
          <a:br>
            <a:rPr lang="ru-RU" sz="1600" dirty="0" smtClean="0"/>
          </a:br>
          <a:r>
            <a:rPr lang="ru-RU" sz="1600" dirty="0" smtClean="0"/>
            <a:t>+ серия методических </a:t>
          </a:r>
          <a:r>
            <a:rPr lang="ru-RU" sz="1600" dirty="0" err="1" smtClean="0"/>
            <a:t>видеоуроков</a:t>
          </a:r>
          <a:r>
            <a:rPr lang="ru-RU" sz="1600" dirty="0" smtClean="0"/>
            <a:t> </a:t>
          </a:r>
          <a:br>
            <a:rPr lang="ru-RU" sz="1600" dirty="0" smtClean="0"/>
          </a:br>
          <a:r>
            <a:rPr lang="ru-RU" sz="1600" b="1" dirty="0" smtClean="0"/>
            <a:t>&gt;9 000 школ</a:t>
          </a:r>
          <a:endParaRPr lang="ru-RU" sz="1600" b="1" dirty="0"/>
        </a:p>
      </dgm:t>
    </dgm:pt>
    <dgm:pt modelId="{729DDE71-4C65-41D9-86F2-F0422719C01D}" type="parTrans" cxnId="{461D4341-FF15-4BEE-8544-38E420AD42BC}">
      <dgm:prSet/>
      <dgm:spPr/>
      <dgm:t>
        <a:bodyPr/>
        <a:lstStyle/>
        <a:p>
          <a:endParaRPr lang="ru-RU" sz="2000"/>
        </a:p>
      </dgm:t>
    </dgm:pt>
    <dgm:pt modelId="{93A99856-0E81-439C-86FE-677F0DD232D2}" type="sibTrans" cxnId="{461D4341-FF15-4BEE-8544-38E420AD42BC}">
      <dgm:prSet/>
      <dgm:spPr/>
      <dgm:t>
        <a:bodyPr/>
        <a:lstStyle/>
        <a:p>
          <a:endParaRPr lang="ru-RU" sz="2000"/>
        </a:p>
      </dgm:t>
    </dgm:pt>
    <dgm:pt modelId="{0EE83C79-AE32-45C9-A800-16B0D5ABE0B4}">
      <dgm:prSet custT="1"/>
      <dgm:spPr/>
      <dgm:t>
        <a:bodyPr/>
        <a:lstStyle/>
        <a:p>
          <a:r>
            <a:rPr lang="ru-RU" sz="1600" dirty="0" smtClean="0"/>
            <a:t>Портал «Единое содержание </a:t>
          </a:r>
          <a:br>
            <a:rPr lang="ru-RU" sz="1600" dirty="0" smtClean="0"/>
          </a:br>
          <a:r>
            <a:rPr lang="ru-RU" sz="1600" dirty="0" smtClean="0"/>
            <a:t>общего образования» </a:t>
          </a:r>
          <a:br>
            <a:rPr lang="ru-RU" sz="1600" dirty="0" smtClean="0"/>
          </a:br>
          <a:r>
            <a:rPr lang="en-US" sz="1600" b="1" dirty="0" smtClean="0"/>
            <a:t>www.edsoo</a:t>
          </a:r>
          <a:r>
            <a:rPr lang="ru-RU" sz="1600" b="1" dirty="0" smtClean="0"/>
            <a:t>.</a:t>
          </a:r>
          <a:r>
            <a:rPr lang="en-US" sz="1600" b="1" dirty="0" err="1" smtClean="0"/>
            <a:t>ru</a:t>
          </a:r>
          <a:endParaRPr lang="ru-RU" sz="1600" b="1" dirty="0"/>
        </a:p>
      </dgm:t>
    </dgm:pt>
    <dgm:pt modelId="{4B280326-5BD1-4C2B-8D68-2A41B2FE2DA0}" type="parTrans" cxnId="{2BE0D0B4-7B2D-4214-B373-46D5ECD66DFA}">
      <dgm:prSet/>
      <dgm:spPr/>
      <dgm:t>
        <a:bodyPr/>
        <a:lstStyle/>
        <a:p>
          <a:endParaRPr lang="ru-RU" sz="2000"/>
        </a:p>
      </dgm:t>
    </dgm:pt>
    <dgm:pt modelId="{8794A943-679A-4E20-A466-7AFB34B790B1}" type="sibTrans" cxnId="{2BE0D0B4-7B2D-4214-B373-46D5ECD66DFA}">
      <dgm:prSet/>
      <dgm:spPr/>
      <dgm:t>
        <a:bodyPr/>
        <a:lstStyle/>
        <a:p>
          <a:endParaRPr lang="ru-RU" sz="2000"/>
        </a:p>
      </dgm:t>
    </dgm:pt>
    <dgm:pt modelId="{86328CDD-378D-482C-9357-B1B6CC96112A}">
      <dgm:prSet custT="1"/>
      <dgm:spPr/>
      <dgm:t>
        <a:bodyPr/>
        <a:lstStyle/>
        <a:p>
          <a:r>
            <a:rPr lang="ru-RU" sz="1600" dirty="0" smtClean="0"/>
            <a:t>«Горячая линия» по вопросам содержания образования  </a:t>
          </a:r>
          <a:br>
            <a:rPr lang="ru-RU" sz="1600" dirty="0" smtClean="0"/>
          </a:br>
          <a:r>
            <a:rPr lang="ru-RU" sz="1600" dirty="0" smtClean="0"/>
            <a:t>Телефон</a:t>
          </a:r>
          <a:r>
            <a:rPr lang="ru-RU" sz="1600" b="0" dirty="0" smtClean="0"/>
            <a:t>:</a:t>
          </a:r>
          <a:r>
            <a:rPr lang="ru-RU" sz="1600" b="1" dirty="0" smtClean="0"/>
            <a:t> 8</a:t>
          </a:r>
          <a:r>
            <a:rPr lang="en-US" sz="1600" b="1" dirty="0" smtClean="0"/>
            <a:t> </a:t>
          </a:r>
          <a:r>
            <a:rPr lang="ru-RU" sz="1600" b="1" dirty="0" smtClean="0"/>
            <a:t>800</a:t>
          </a:r>
          <a:r>
            <a:rPr lang="en-US" sz="1600" b="1" dirty="0" smtClean="0"/>
            <a:t> </a:t>
          </a:r>
          <a:r>
            <a:rPr lang="ru-RU" sz="1600" b="1" dirty="0" smtClean="0"/>
            <a:t>200 91 25       </a:t>
          </a:r>
          <a:endParaRPr lang="ru-RU" sz="1600" b="1" dirty="0"/>
        </a:p>
      </dgm:t>
    </dgm:pt>
    <dgm:pt modelId="{58164DF1-33CE-4CF1-B6FA-F6406476DA1B}" type="parTrans" cxnId="{97F829F2-94D9-4C7A-AF24-6873DA745D29}">
      <dgm:prSet/>
      <dgm:spPr/>
      <dgm:t>
        <a:bodyPr/>
        <a:lstStyle/>
        <a:p>
          <a:endParaRPr lang="ru-RU" sz="2000"/>
        </a:p>
      </dgm:t>
    </dgm:pt>
    <dgm:pt modelId="{0C87A671-235D-4089-9A1E-64E7FE04047C}" type="sibTrans" cxnId="{97F829F2-94D9-4C7A-AF24-6873DA745D29}">
      <dgm:prSet/>
      <dgm:spPr/>
      <dgm:t>
        <a:bodyPr/>
        <a:lstStyle/>
        <a:p>
          <a:endParaRPr lang="ru-RU" sz="2000"/>
        </a:p>
      </dgm:t>
    </dgm:pt>
    <dgm:pt modelId="{848639BB-C1E4-4C64-9CEE-5AF7EA4B1AB6}" type="pres">
      <dgm:prSet presAssocID="{DD2C483B-DEF3-4F9E-8824-04CFEBE4115C}" presName="Name0" presStyleCnt="0">
        <dgm:presLayoutVars>
          <dgm:dir/>
          <dgm:resizeHandles/>
        </dgm:presLayoutVars>
      </dgm:prSet>
      <dgm:spPr/>
      <dgm:t>
        <a:bodyPr/>
        <a:lstStyle/>
        <a:p>
          <a:endParaRPr lang="ru-RU"/>
        </a:p>
      </dgm:t>
    </dgm:pt>
    <dgm:pt modelId="{95641A33-C1CC-4423-AF82-B9D3B60AA8D7}" type="pres">
      <dgm:prSet presAssocID="{82CAAE10-5723-4380-A526-AE2D20013051}" presName="compNode" presStyleCnt="0"/>
      <dgm:spPr/>
    </dgm:pt>
    <dgm:pt modelId="{7FA6D39B-F5D6-4902-AC05-E7C1AAE0EA31}" type="pres">
      <dgm:prSet presAssocID="{82CAAE10-5723-4380-A526-AE2D20013051}" presName="dummyConnPt" presStyleCnt="0"/>
      <dgm:spPr/>
    </dgm:pt>
    <dgm:pt modelId="{AE656BA8-09C5-498E-B9DE-DFDDBAB6894C}" type="pres">
      <dgm:prSet presAssocID="{82CAAE10-5723-4380-A526-AE2D20013051}" presName="node" presStyleLbl="node1" presStyleIdx="0" presStyleCnt="9" custScaleX="2263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00F12ED-9D79-457A-9CF2-7F50AF041F4B}" type="pres">
      <dgm:prSet presAssocID="{4E2B6C4B-2301-4F0F-B4F5-DAC4004D38F9}" presName="sibTrans" presStyleLbl="bgSibTrans2D1" presStyleIdx="0" presStyleCnt="8"/>
      <dgm:spPr/>
      <dgm:t>
        <a:bodyPr/>
        <a:lstStyle/>
        <a:p>
          <a:endParaRPr lang="ru-RU"/>
        </a:p>
      </dgm:t>
    </dgm:pt>
    <dgm:pt modelId="{6E4043BE-0E02-4794-809B-7303F9E7E3B8}" type="pres">
      <dgm:prSet presAssocID="{195482B0-B490-44DF-8482-85F0F52F1980}" presName="compNode" presStyleCnt="0"/>
      <dgm:spPr/>
    </dgm:pt>
    <dgm:pt modelId="{B1240F41-B92C-45DE-B23D-F59C4A9EDB6F}" type="pres">
      <dgm:prSet presAssocID="{195482B0-B490-44DF-8482-85F0F52F1980}" presName="dummyConnPt" presStyleCnt="0"/>
      <dgm:spPr/>
    </dgm:pt>
    <dgm:pt modelId="{D688EFEB-9509-4559-B4AF-E272B9B430EF}" type="pres">
      <dgm:prSet presAssocID="{195482B0-B490-44DF-8482-85F0F52F1980}" presName="node" presStyleLbl="node1" presStyleIdx="1" presStyleCnt="9" custScaleX="2263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4BDC8D1-BBE6-4763-B555-CB6017DFB5CD}" type="pres">
      <dgm:prSet presAssocID="{FA3D71E7-A0F4-4C3F-AF18-A27792A260DC}" presName="sibTrans" presStyleLbl="bgSibTrans2D1" presStyleIdx="1" presStyleCnt="8"/>
      <dgm:spPr/>
      <dgm:t>
        <a:bodyPr/>
        <a:lstStyle/>
        <a:p>
          <a:endParaRPr lang="ru-RU"/>
        </a:p>
      </dgm:t>
    </dgm:pt>
    <dgm:pt modelId="{E0751A7F-8A2A-43C1-A812-EF3A66738611}" type="pres">
      <dgm:prSet presAssocID="{604DA1F8-00A9-4EE0-8C9F-E123BFDE1B8F}" presName="compNode" presStyleCnt="0"/>
      <dgm:spPr/>
    </dgm:pt>
    <dgm:pt modelId="{51D0B37A-AB6F-49AD-BCF2-6E0F61428103}" type="pres">
      <dgm:prSet presAssocID="{604DA1F8-00A9-4EE0-8C9F-E123BFDE1B8F}" presName="dummyConnPt" presStyleCnt="0"/>
      <dgm:spPr/>
    </dgm:pt>
    <dgm:pt modelId="{AB86BEE0-5966-4D06-8BB7-684A8EE05C4F}" type="pres">
      <dgm:prSet presAssocID="{604DA1F8-00A9-4EE0-8C9F-E123BFDE1B8F}" presName="node" presStyleLbl="node1" presStyleIdx="2" presStyleCnt="9" custScaleX="2263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CF95B04-FCDA-4A9B-BC57-4662DE011689}" type="pres">
      <dgm:prSet presAssocID="{28037D71-0ADF-4155-A33A-E91BD443843C}" presName="sibTrans" presStyleLbl="bgSibTrans2D1" presStyleIdx="2" presStyleCnt="8"/>
      <dgm:spPr/>
      <dgm:t>
        <a:bodyPr/>
        <a:lstStyle/>
        <a:p>
          <a:endParaRPr lang="ru-RU"/>
        </a:p>
      </dgm:t>
    </dgm:pt>
    <dgm:pt modelId="{2464D831-B65D-4946-BC34-0FC2E543E34C}" type="pres">
      <dgm:prSet presAssocID="{0F31440F-B09C-4D4C-8A81-7193F22BAF79}" presName="compNode" presStyleCnt="0"/>
      <dgm:spPr/>
    </dgm:pt>
    <dgm:pt modelId="{163ED1E8-8166-4F00-AAFE-EBB05F8A2F6C}" type="pres">
      <dgm:prSet presAssocID="{0F31440F-B09C-4D4C-8A81-7193F22BAF79}" presName="dummyConnPt" presStyleCnt="0"/>
      <dgm:spPr/>
    </dgm:pt>
    <dgm:pt modelId="{C6EED441-A5BC-4609-90C1-166C9581CF0F}" type="pres">
      <dgm:prSet presAssocID="{0F31440F-B09C-4D4C-8A81-7193F22BAF79}" presName="node" presStyleLbl="node1" presStyleIdx="3" presStyleCnt="9" custScaleX="2263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A8E1C5F-ED5E-429D-9B30-21EA5EEEC499}" type="pres">
      <dgm:prSet presAssocID="{BFF6522D-0935-4828-98D2-520368E3B3B3}" presName="sibTrans" presStyleLbl="bgSibTrans2D1" presStyleIdx="3" presStyleCnt="8"/>
      <dgm:spPr/>
      <dgm:t>
        <a:bodyPr/>
        <a:lstStyle/>
        <a:p>
          <a:endParaRPr lang="ru-RU"/>
        </a:p>
      </dgm:t>
    </dgm:pt>
    <dgm:pt modelId="{BED8A18D-8490-4197-98E8-3C931064DB5C}" type="pres">
      <dgm:prSet presAssocID="{897BCD55-B6FA-4EA9-853A-61C0D26BBBDE}" presName="compNode" presStyleCnt="0"/>
      <dgm:spPr/>
    </dgm:pt>
    <dgm:pt modelId="{1B0C5987-671E-4CB0-B196-361A390E64E4}" type="pres">
      <dgm:prSet presAssocID="{897BCD55-B6FA-4EA9-853A-61C0D26BBBDE}" presName="dummyConnPt" presStyleCnt="0"/>
      <dgm:spPr/>
    </dgm:pt>
    <dgm:pt modelId="{959C3F46-FB6C-42CC-8A99-F8F4250C4869}" type="pres">
      <dgm:prSet presAssocID="{897BCD55-B6FA-4EA9-853A-61C0D26BBBDE}" presName="node" presStyleLbl="node1" presStyleIdx="4" presStyleCnt="9" custScaleX="2263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83DB8E9-6FB0-463F-8122-95994430A6F7}" type="pres">
      <dgm:prSet presAssocID="{24D81BB4-BC15-411B-BBDE-5D939C52AF3B}" presName="sibTrans" presStyleLbl="bgSibTrans2D1" presStyleIdx="4" presStyleCnt="8"/>
      <dgm:spPr/>
      <dgm:t>
        <a:bodyPr/>
        <a:lstStyle/>
        <a:p>
          <a:endParaRPr lang="ru-RU"/>
        </a:p>
      </dgm:t>
    </dgm:pt>
    <dgm:pt modelId="{AC36ACFD-CBD1-47CD-A477-39C7F8E0D88C}" type="pres">
      <dgm:prSet presAssocID="{6BEFE141-1458-4356-B17E-7094A2C6E73C}" presName="compNode" presStyleCnt="0"/>
      <dgm:spPr/>
    </dgm:pt>
    <dgm:pt modelId="{0386C58A-F8FD-4733-9B15-6E20D3484621}" type="pres">
      <dgm:prSet presAssocID="{6BEFE141-1458-4356-B17E-7094A2C6E73C}" presName="dummyConnPt" presStyleCnt="0"/>
      <dgm:spPr/>
    </dgm:pt>
    <dgm:pt modelId="{B5E90163-A847-4BEC-B81B-4FDC96A6E37F}" type="pres">
      <dgm:prSet presAssocID="{6BEFE141-1458-4356-B17E-7094A2C6E73C}" presName="node" presStyleLbl="node1" presStyleIdx="5" presStyleCnt="9" custScaleX="2263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6C74C9-EADB-4D88-8088-A5D44AB4C654}" type="pres">
      <dgm:prSet presAssocID="{02DE10F7-F4CB-44EB-B18E-957717E3A54C}" presName="sibTrans" presStyleLbl="bgSibTrans2D1" presStyleIdx="5" presStyleCnt="8"/>
      <dgm:spPr/>
      <dgm:t>
        <a:bodyPr/>
        <a:lstStyle/>
        <a:p>
          <a:endParaRPr lang="ru-RU"/>
        </a:p>
      </dgm:t>
    </dgm:pt>
    <dgm:pt modelId="{B1AF6E20-831C-459E-AFCC-985AA3CEA6D3}" type="pres">
      <dgm:prSet presAssocID="{C9D39B06-9D81-4947-A58C-F5E02933B85A}" presName="compNode" presStyleCnt="0"/>
      <dgm:spPr/>
    </dgm:pt>
    <dgm:pt modelId="{8B12C8CD-ACE2-4309-B59E-95A540F2A1B6}" type="pres">
      <dgm:prSet presAssocID="{C9D39B06-9D81-4947-A58C-F5E02933B85A}" presName="dummyConnPt" presStyleCnt="0"/>
      <dgm:spPr/>
    </dgm:pt>
    <dgm:pt modelId="{FA9F819F-453A-4BFA-B77A-548360270841}" type="pres">
      <dgm:prSet presAssocID="{C9D39B06-9D81-4947-A58C-F5E02933B85A}" presName="node" presStyleLbl="node1" presStyleIdx="6" presStyleCnt="9" custScaleX="2263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42039E6-7D64-4AB8-8D6F-4FF482C24458}" type="pres">
      <dgm:prSet presAssocID="{93A99856-0E81-439C-86FE-677F0DD232D2}" presName="sibTrans" presStyleLbl="bgSibTrans2D1" presStyleIdx="6" presStyleCnt="8"/>
      <dgm:spPr/>
      <dgm:t>
        <a:bodyPr/>
        <a:lstStyle/>
        <a:p>
          <a:endParaRPr lang="ru-RU"/>
        </a:p>
      </dgm:t>
    </dgm:pt>
    <dgm:pt modelId="{A60DB317-BFDF-430A-9CC2-4371D91B65CF}" type="pres">
      <dgm:prSet presAssocID="{0EE83C79-AE32-45C9-A800-16B0D5ABE0B4}" presName="compNode" presStyleCnt="0"/>
      <dgm:spPr/>
    </dgm:pt>
    <dgm:pt modelId="{C9D2D773-8229-486C-AF40-A920A53C8918}" type="pres">
      <dgm:prSet presAssocID="{0EE83C79-AE32-45C9-A800-16B0D5ABE0B4}" presName="dummyConnPt" presStyleCnt="0"/>
      <dgm:spPr/>
    </dgm:pt>
    <dgm:pt modelId="{33CAFEFF-8779-41E5-BD38-FCD1BA49B053}" type="pres">
      <dgm:prSet presAssocID="{0EE83C79-AE32-45C9-A800-16B0D5ABE0B4}" presName="node" presStyleLbl="node1" presStyleIdx="7" presStyleCnt="9" custScaleX="2263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8CB72CD-AB94-4DF1-A786-F49F4D1BFBBF}" type="pres">
      <dgm:prSet presAssocID="{8794A943-679A-4E20-A466-7AFB34B790B1}" presName="sibTrans" presStyleLbl="bgSibTrans2D1" presStyleIdx="7" presStyleCnt="8"/>
      <dgm:spPr/>
      <dgm:t>
        <a:bodyPr/>
        <a:lstStyle/>
        <a:p>
          <a:endParaRPr lang="ru-RU"/>
        </a:p>
      </dgm:t>
    </dgm:pt>
    <dgm:pt modelId="{10EE582F-1099-400E-BEE4-552BB9D99044}" type="pres">
      <dgm:prSet presAssocID="{86328CDD-378D-482C-9357-B1B6CC96112A}" presName="compNode" presStyleCnt="0"/>
      <dgm:spPr/>
    </dgm:pt>
    <dgm:pt modelId="{95EB3E79-3FB1-4F77-9AAF-2F6429C2F5EE}" type="pres">
      <dgm:prSet presAssocID="{86328CDD-378D-482C-9357-B1B6CC96112A}" presName="dummyConnPt" presStyleCnt="0"/>
      <dgm:spPr/>
    </dgm:pt>
    <dgm:pt modelId="{5E73E226-0ECB-445B-92CB-4EC7766B68AA}" type="pres">
      <dgm:prSet presAssocID="{86328CDD-378D-482C-9357-B1B6CC96112A}" presName="node" presStyleLbl="node1" presStyleIdx="8" presStyleCnt="9" custScaleX="22636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D4FD97F-E0B2-411D-A7D1-8833E8D8F15B}" type="presOf" srcId="{93A99856-0E81-439C-86FE-677F0DD232D2}" destId="{442039E6-7D64-4AB8-8D6F-4FF482C24458}" srcOrd="0" destOrd="0" presId="urn:microsoft.com/office/officeart/2005/8/layout/bProcess4"/>
    <dgm:cxn modelId="{97F829F2-94D9-4C7A-AF24-6873DA745D29}" srcId="{DD2C483B-DEF3-4F9E-8824-04CFEBE4115C}" destId="{86328CDD-378D-482C-9357-B1B6CC96112A}" srcOrd="8" destOrd="0" parTransId="{58164DF1-33CE-4CF1-B6FA-F6406476DA1B}" sibTransId="{0C87A671-235D-4089-9A1E-64E7FE04047C}"/>
    <dgm:cxn modelId="{B2D26C1C-20D6-4651-A90B-C1AA3456A045}" type="presOf" srcId="{86328CDD-378D-482C-9357-B1B6CC96112A}" destId="{5E73E226-0ECB-445B-92CB-4EC7766B68AA}" srcOrd="0" destOrd="0" presId="urn:microsoft.com/office/officeart/2005/8/layout/bProcess4"/>
    <dgm:cxn modelId="{3E68120B-44A1-4E8B-A340-0B3420A31244}" type="presOf" srcId="{0F31440F-B09C-4D4C-8A81-7193F22BAF79}" destId="{C6EED441-A5BC-4609-90C1-166C9581CF0F}" srcOrd="0" destOrd="0" presId="urn:microsoft.com/office/officeart/2005/8/layout/bProcess4"/>
    <dgm:cxn modelId="{2BE0D0B4-7B2D-4214-B373-46D5ECD66DFA}" srcId="{DD2C483B-DEF3-4F9E-8824-04CFEBE4115C}" destId="{0EE83C79-AE32-45C9-A800-16B0D5ABE0B4}" srcOrd="7" destOrd="0" parTransId="{4B280326-5BD1-4C2B-8D68-2A41B2FE2DA0}" sibTransId="{8794A943-679A-4E20-A466-7AFB34B790B1}"/>
    <dgm:cxn modelId="{D45485C9-0B9A-4470-924F-313BF642E913}" srcId="{DD2C483B-DEF3-4F9E-8824-04CFEBE4115C}" destId="{0F31440F-B09C-4D4C-8A81-7193F22BAF79}" srcOrd="3" destOrd="0" parTransId="{A35499C4-ED32-405B-8459-ACD81938E8F3}" sibTransId="{BFF6522D-0935-4828-98D2-520368E3B3B3}"/>
    <dgm:cxn modelId="{784C69F5-7E71-46A7-B923-A78DFEAC2670}" type="presOf" srcId="{BFF6522D-0935-4828-98D2-520368E3B3B3}" destId="{2A8E1C5F-ED5E-429D-9B30-21EA5EEEC499}" srcOrd="0" destOrd="0" presId="urn:microsoft.com/office/officeart/2005/8/layout/bProcess4"/>
    <dgm:cxn modelId="{16362EE2-845C-467E-B9FB-6467BBCACF84}" srcId="{DD2C483B-DEF3-4F9E-8824-04CFEBE4115C}" destId="{6BEFE141-1458-4356-B17E-7094A2C6E73C}" srcOrd="5" destOrd="0" parTransId="{EEFB2753-9C25-4DF6-BA5D-9082E64F86D7}" sibTransId="{02DE10F7-F4CB-44EB-B18E-957717E3A54C}"/>
    <dgm:cxn modelId="{D1889B45-514C-4DE5-B165-0E3F4403D900}" type="presOf" srcId="{02DE10F7-F4CB-44EB-B18E-957717E3A54C}" destId="{F06C74C9-EADB-4D88-8088-A5D44AB4C654}" srcOrd="0" destOrd="0" presId="urn:microsoft.com/office/officeart/2005/8/layout/bProcess4"/>
    <dgm:cxn modelId="{6D53135C-3A89-4B20-98F4-24CE311B4F87}" srcId="{DD2C483B-DEF3-4F9E-8824-04CFEBE4115C}" destId="{897BCD55-B6FA-4EA9-853A-61C0D26BBBDE}" srcOrd="4" destOrd="0" parTransId="{85B6C014-0ACC-4FDA-B5AA-DAFC6E1DD282}" sibTransId="{24D81BB4-BC15-411B-BBDE-5D939C52AF3B}"/>
    <dgm:cxn modelId="{B7EB7432-4DB0-45EA-8691-2D2C646182F7}" type="presOf" srcId="{82CAAE10-5723-4380-A526-AE2D20013051}" destId="{AE656BA8-09C5-498E-B9DE-DFDDBAB6894C}" srcOrd="0" destOrd="0" presId="urn:microsoft.com/office/officeart/2005/8/layout/bProcess4"/>
    <dgm:cxn modelId="{E953C1BE-0BA3-4184-A366-017895D2A18C}" type="presOf" srcId="{897BCD55-B6FA-4EA9-853A-61C0D26BBBDE}" destId="{959C3F46-FB6C-42CC-8A99-F8F4250C4869}" srcOrd="0" destOrd="0" presId="urn:microsoft.com/office/officeart/2005/8/layout/bProcess4"/>
    <dgm:cxn modelId="{E832458F-51CB-434A-9447-CD36088C4319}" type="presOf" srcId="{195482B0-B490-44DF-8482-85F0F52F1980}" destId="{D688EFEB-9509-4559-B4AF-E272B9B430EF}" srcOrd="0" destOrd="0" presId="urn:microsoft.com/office/officeart/2005/8/layout/bProcess4"/>
    <dgm:cxn modelId="{8E9EF0F2-5C6D-44B4-ACB9-0AB9F42AB4D8}" type="presOf" srcId="{0EE83C79-AE32-45C9-A800-16B0D5ABE0B4}" destId="{33CAFEFF-8779-41E5-BD38-FCD1BA49B053}" srcOrd="0" destOrd="0" presId="urn:microsoft.com/office/officeart/2005/8/layout/bProcess4"/>
    <dgm:cxn modelId="{C4D2E1E3-FBF3-435C-9F7D-E597877B54EC}" type="presOf" srcId="{FA3D71E7-A0F4-4C3F-AF18-A27792A260DC}" destId="{24BDC8D1-BBE6-4763-B555-CB6017DFB5CD}" srcOrd="0" destOrd="0" presId="urn:microsoft.com/office/officeart/2005/8/layout/bProcess4"/>
    <dgm:cxn modelId="{E6E58943-10E4-46D4-8640-C0A47FD1A1DE}" type="presOf" srcId="{6BEFE141-1458-4356-B17E-7094A2C6E73C}" destId="{B5E90163-A847-4BEC-B81B-4FDC96A6E37F}" srcOrd="0" destOrd="0" presId="urn:microsoft.com/office/officeart/2005/8/layout/bProcess4"/>
    <dgm:cxn modelId="{B7E905DE-A00C-4903-B4EA-3B48B853869D}" type="presOf" srcId="{4E2B6C4B-2301-4F0F-B4F5-DAC4004D38F9}" destId="{300F12ED-9D79-457A-9CF2-7F50AF041F4B}" srcOrd="0" destOrd="0" presId="urn:microsoft.com/office/officeart/2005/8/layout/bProcess4"/>
    <dgm:cxn modelId="{28318A0E-2CFA-4422-B0FD-010DB8F23E88}" type="presOf" srcId="{C9D39B06-9D81-4947-A58C-F5E02933B85A}" destId="{FA9F819F-453A-4BFA-B77A-548360270841}" srcOrd="0" destOrd="0" presId="urn:microsoft.com/office/officeart/2005/8/layout/bProcess4"/>
    <dgm:cxn modelId="{28F34040-3955-4ABA-BC2B-86880BF89E21}" type="presOf" srcId="{604DA1F8-00A9-4EE0-8C9F-E123BFDE1B8F}" destId="{AB86BEE0-5966-4D06-8BB7-684A8EE05C4F}" srcOrd="0" destOrd="0" presId="urn:microsoft.com/office/officeart/2005/8/layout/bProcess4"/>
    <dgm:cxn modelId="{4C473E90-67CC-4144-8461-08AC134E8130}" type="presOf" srcId="{8794A943-679A-4E20-A466-7AFB34B790B1}" destId="{B8CB72CD-AB94-4DF1-A786-F49F4D1BFBBF}" srcOrd="0" destOrd="0" presId="urn:microsoft.com/office/officeart/2005/8/layout/bProcess4"/>
    <dgm:cxn modelId="{B5638432-7594-4B68-AA1F-CEC8E05790A5}" srcId="{DD2C483B-DEF3-4F9E-8824-04CFEBE4115C}" destId="{604DA1F8-00A9-4EE0-8C9F-E123BFDE1B8F}" srcOrd="2" destOrd="0" parTransId="{7EB6C0C7-C183-4FD4-9193-1687B8E88117}" sibTransId="{28037D71-0ADF-4155-A33A-E91BD443843C}"/>
    <dgm:cxn modelId="{0F5E4FBB-45AE-461A-8229-1C09B28394CC}" srcId="{DD2C483B-DEF3-4F9E-8824-04CFEBE4115C}" destId="{195482B0-B490-44DF-8482-85F0F52F1980}" srcOrd="1" destOrd="0" parTransId="{7CD7724C-5E40-44DA-BAD4-34A95434241A}" sibTransId="{FA3D71E7-A0F4-4C3F-AF18-A27792A260DC}"/>
    <dgm:cxn modelId="{97E6ED08-A931-4B88-84C9-B46E2DFDD70F}" type="presOf" srcId="{24D81BB4-BC15-411B-BBDE-5D939C52AF3B}" destId="{B83DB8E9-6FB0-463F-8122-95994430A6F7}" srcOrd="0" destOrd="0" presId="urn:microsoft.com/office/officeart/2005/8/layout/bProcess4"/>
    <dgm:cxn modelId="{7221D321-C6E7-46DD-BF9B-29BECB58039D}" type="presOf" srcId="{DD2C483B-DEF3-4F9E-8824-04CFEBE4115C}" destId="{848639BB-C1E4-4C64-9CEE-5AF7EA4B1AB6}" srcOrd="0" destOrd="0" presId="urn:microsoft.com/office/officeart/2005/8/layout/bProcess4"/>
    <dgm:cxn modelId="{8814DD4C-9108-4673-B244-6AC1611CB18B}" type="presOf" srcId="{28037D71-0ADF-4155-A33A-E91BD443843C}" destId="{9CF95B04-FCDA-4A9B-BC57-4662DE011689}" srcOrd="0" destOrd="0" presId="urn:microsoft.com/office/officeart/2005/8/layout/bProcess4"/>
    <dgm:cxn modelId="{461D4341-FF15-4BEE-8544-38E420AD42BC}" srcId="{DD2C483B-DEF3-4F9E-8824-04CFEBE4115C}" destId="{C9D39B06-9D81-4947-A58C-F5E02933B85A}" srcOrd="6" destOrd="0" parTransId="{729DDE71-4C65-41D9-86F2-F0422719C01D}" sibTransId="{93A99856-0E81-439C-86FE-677F0DD232D2}"/>
    <dgm:cxn modelId="{872D9642-542C-4AD6-8874-F18E10A4A43A}" srcId="{DD2C483B-DEF3-4F9E-8824-04CFEBE4115C}" destId="{82CAAE10-5723-4380-A526-AE2D20013051}" srcOrd="0" destOrd="0" parTransId="{969AE7C1-F472-4B99-82F4-50B126921B3F}" sibTransId="{4E2B6C4B-2301-4F0F-B4F5-DAC4004D38F9}"/>
    <dgm:cxn modelId="{E57E015F-8328-473C-8AE0-2D84E3DD3CA2}" type="presParOf" srcId="{848639BB-C1E4-4C64-9CEE-5AF7EA4B1AB6}" destId="{95641A33-C1CC-4423-AF82-B9D3B60AA8D7}" srcOrd="0" destOrd="0" presId="urn:microsoft.com/office/officeart/2005/8/layout/bProcess4"/>
    <dgm:cxn modelId="{2EB829AE-A6E2-4D42-BE27-99BBA83B3127}" type="presParOf" srcId="{95641A33-C1CC-4423-AF82-B9D3B60AA8D7}" destId="{7FA6D39B-F5D6-4902-AC05-E7C1AAE0EA31}" srcOrd="0" destOrd="0" presId="urn:microsoft.com/office/officeart/2005/8/layout/bProcess4"/>
    <dgm:cxn modelId="{96748A4D-E240-438B-A61D-375FFBFC5DFD}" type="presParOf" srcId="{95641A33-C1CC-4423-AF82-B9D3B60AA8D7}" destId="{AE656BA8-09C5-498E-B9DE-DFDDBAB6894C}" srcOrd="1" destOrd="0" presId="urn:microsoft.com/office/officeart/2005/8/layout/bProcess4"/>
    <dgm:cxn modelId="{414743B4-103A-4E49-A1F0-A064CA1DFA40}" type="presParOf" srcId="{848639BB-C1E4-4C64-9CEE-5AF7EA4B1AB6}" destId="{300F12ED-9D79-457A-9CF2-7F50AF041F4B}" srcOrd="1" destOrd="0" presId="urn:microsoft.com/office/officeart/2005/8/layout/bProcess4"/>
    <dgm:cxn modelId="{AABEE516-5FFB-43A6-84A0-61A99C659E71}" type="presParOf" srcId="{848639BB-C1E4-4C64-9CEE-5AF7EA4B1AB6}" destId="{6E4043BE-0E02-4794-809B-7303F9E7E3B8}" srcOrd="2" destOrd="0" presId="urn:microsoft.com/office/officeart/2005/8/layout/bProcess4"/>
    <dgm:cxn modelId="{4325A513-0687-47FB-A000-8326D0A1B871}" type="presParOf" srcId="{6E4043BE-0E02-4794-809B-7303F9E7E3B8}" destId="{B1240F41-B92C-45DE-B23D-F59C4A9EDB6F}" srcOrd="0" destOrd="0" presId="urn:microsoft.com/office/officeart/2005/8/layout/bProcess4"/>
    <dgm:cxn modelId="{C8118A3E-61F9-4FC4-A20E-C0BA9441BFEB}" type="presParOf" srcId="{6E4043BE-0E02-4794-809B-7303F9E7E3B8}" destId="{D688EFEB-9509-4559-B4AF-E272B9B430EF}" srcOrd="1" destOrd="0" presId="urn:microsoft.com/office/officeart/2005/8/layout/bProcess4"/>
    <dgm:cxn modelId="{8153AF05-E0DC-4E9D-B30B-DCD7119CA313}" type="presParOf" srcId="{848639BB-C1E4-4C64-9CEE-5AF7EA4B1AB6}" destId="{24BDC8D1-BBE6-4763-B555-CB6017DFB5CD}" srcOrd="3" destOrd="0" presId="urn:microsoft.com/office/officeart/2005/8/layout/bProcess4"/>
    <dgm:cxn modelId="{4D55CBF2-2F4B-4983-8714-E081238B0187}" type="presParOf" srcId="{848639BB-C1E4-4C64-9CEE-5AF7EA4B1AB6}" destId="{E0751A7F-8A2A-43C1-A812-EF3A66738611}" srcOrd="4" destOrd="0" presId="urn:microsoft.com/office/officeart/2005/8/layout/bProcess4"/>
    <dgm:cxn modelId="{7A907F3A-3780-4A37-A417-08AD47CBCAC0}" type="presParOf" srcId="{E0751A7F-8A2A-43C1-A812-EF3A66738611}" destId="{51D0B37A-AB6F-49AD-BCF2-6E0F61428103}" srcOrd="0" destOrd="0" presId="urn:microsoft.com/office/officeart/2005/8/layout/bProcess4"/>
    <dgm:cxn modelId="{7BE0F7BC-4BB1-4A1A-B08C-08374556CF2C}" type="presParOf" srcId="{E0751A7F-8A2A-43C1-A812-EF3A66738611}" destId="{AB86BEE0-5966-4D06-8BB7-684A8EE05C4F}" srcOrd="1" destOrd="0" presId="urn:microsoft.com/office/officeart/2005/8/layout/bProcess4"/>
    <dgm:cxn modelId="{A554E8F2-B38D-4CB7-A378-38BF20ABB349}" type="presParOf" srcId="{848639BB-C1E4-4C64-9CEE-5AF7EA4B1AB6}" destId="{9CF95B04-FCDA-4A9B-BC57-4662DE011689}" srcOrd="5" destOrd="0" presId="urn:microsoft.com/office/officeart/2005/8/layout/bProcess4"/>
    <dgm:cxn modelId="{03C752CA-9B5F-4023-94FC-D9D16502C2EA}" type="presParOf" srcId="{848639BB-C1E4-4C64-9CEE-5AF7EA4B1AB6}" destId="{2464D831-B65D-4946-BC34-0FC2E543E34C}" srcOrd="6" destOrd="0" presId="urn:microsoft.com/office/officeart/2005/8/layout/bProcess4"/>
    <dgm:cxn modelId="{68E53183-2893-4DE8-858A-5768B8988AE0}" type="presParOf" srcId="{2464D831-B65D-4946-BC34-0FC2E543E34C}" destId="{163ED1E8-8166-4F00-AAFE-EBB05F8A2F6C}" srcOrd="0" destOrd="0" presId="urn:microsoft.com/office/officeart/2005/8/layout/bProcess4"/>
    <dgm:cxn modelId="{6DB2686C-D144-4AE1-8F55-86CA4ACE8B2D}" type="presParOf" srcId="{2464D831-B65D-4946-BC34-0FC2E543E34C}" destId="{C6EED441-A5BC-4609-90C1-166C9581CF0F}" srcOrd="1" destOrd="0" presId="urn:microsoft.com/office/officeart/2005/8/layout/bProcess4"/>
    <dgm:cxn modelId="{06E3E5A8-4343-4DD9-A6FD-3E145279EA67}" type="presParOf" srcId="{848639BB-C1E4-4C64-9CEE-5AF7EA4B1AB6}" destId="{2A8E1C5F-ED5E-429D-9B30-21EA5EEEC499}" srcOrd="7" destOrd="0" presId="urn:microsoft.com/office/officeart/2005/8/layout/bProcess4"/>
    <dgm:cxn modelId="{A3ECAC8F-791B-48B5-91E5-6DE1CD2670D3}" type="presParOf" srcId="{848639BB-C1E4-4C64-9CEE-5AF7EA4B1AB6}" destId="{BED8A18D-8490-4197-98E8-3C931064DB5C}" srcOrd="8" destOrd="0" presId="urn:microsoft.com/office/officeart/2005/8/layout/bProcess4"/>
    <dgm:cxn modelId="{24DC04DD-2DA1-42E8-8D05-65D71C8FD953}" type="presParOf" srcId="{BED8A18D-8490-4197-98E8-3C931064DB5C}" destId="{1B0C5987-671E-4CB0-B196-361A390E64E4}" srcOrd="0" destOrd="0" presId="urn:microsoft.com/office/officeart/2005/8/layout/bProcess4"/>
    <dgm:cxn modelId="{01616E58-DBF6-4105-9ACB-C0A98F35915F}" type="presParOf" srcId="{BED8A18D-8490-4197-98E8-3C931064DB5C}" destId="{959C3F46-FB6C-42CC-8A99-F8F4250C4869}" srcOrd="1" destOrd="0" presId="urn:microsoft.com/office/officeart/2005/8/layout/bProcess4"/>
    <dgm:cxn modelId="{AA2F1A22-BC50-4C60-A604-5413EB514C4E}" type="presParOf" srcId="{848639BB-C1E4-4C64-9CEE-5AF7EA4B1AB6}" destId="{B83DB8E9-6FB0-463F-8122-95994430A6F7}" srcOrd="9" destOrd="0" presId="urn:microsoft.com/office/officeart/2005/8/layout/bProcess4"/>
    <dgm:cxn modelId="{9F3716FF-173E-406C-ACF7-7FFB38A29771}" type="presParOf" srcId="{848639BB-C1E4-4C64-9CEE-5AF7EA4B1AB6}" destId="{AC36ACFD-CBD1-47CD-A477-39C7F8E0D88C}" srcOrd="10" destOrd="0" presId="urn:microsoft.com/office/officeart/2005/8/layout/bProcess4"/>
    <dgm:cxn modelId="{40B1B21D-1B1D-4D41-B21B-2621176B87C3}" type="presParOf" srcId="{AC36ACFD-CBD1-47CD-A477-39C7F8E0D88C}" destId="{0386C58A-F8FD-4733-9B15-6E20D3484621}" srcOrd="0" destOrd="0" presId="urn:microsoft.com/office/officeart/2005/8/layout/bProcess4"/>
    <dgm:cxn modelId="{44594679-1B27-4812-A1D3-25B17C6DA9F4}" type="presParOf" srcId="{AC36ACFD-CBD1-47CD-A477-39C7F8E0D88C}" destId="{B5E90163-A847-4BEC-B81B-4FDC96A6E37F}" srcOrd="1" destOrd="0" presId="urn:microsoft.com/office/officeart/2005/8/layout/bProcess4"/>
    <dgm:cxn modelId="{84625303-9EBF-4FC6-8827-FAA5D0A5231F}" type="presParOf" srcId="{848639BB-C1E4-4C64-9CEE-5AF7EA4B1AB6}" destId="{F06C74C9-EADB-4D88-8088-A5D44AB4C654}" srcOrd="11" destOrd="0" presId="urn:microsoft.com/office/officeart/2005/8/layout/bProcess4"/>
    <dgm:cxn modelId="{625CEEA7-AA6C-45DC-8128-E5985134CE3C}" type="presParOf" srcId="{848639BB-C1E4-4C64-9CEE-5AF7EA4B1AB6}" destId="{B1AF6E20-831C-459E-AFCC-985AA3CEA6D3}" srcOrd="12" destOrd="0" presId="urn:microsoft.com/office/officeart/2005/8/layout/bProcess4"/>
    <dgm:cxn modelId="{31B7EE79-7911-426D-99E6-D09307647A7B}" type="presParOf" srcId="{B1AF6E20-831C-459E-AFCC-985AA3CEA6D3}" destId="{8B12C8CD-ACE2-4309-B59E-95A540F2A1B6}" srcOrd="0" destOrd="0" presId="urn:microsoft.com/office/officeart/2005/8/layout/bProcess4"/>
    <dgm:cxn modelId="{3BD9BA25-8063-4CA4-9096-F751CEFD4FE9}" type="presParOf" srcId="{B1AF6E20-831C-459E-AFCC-985AA3CEA6D3}" destId="{FA9F819F-453A-4BFA-B77A-548360270841}" srcOrd="1" destOrd="0" presId="urn:microsoft.com/office/officeart/2005/8/layout/bProcess4"/>
    <dgm:cxn modelId="{53A776FC-4742-4EDE-BB54-8BAF1BAC5AE4}" type="presParOf" srcId="{848639BB-C1E4-4C64-9CEE-5AF7EA4B1AB6}" destId="{442039E6-7D64-4AB8-8D6F-4FF482C24458}" srcOrd="13" destOrd="0" presId="urn:microsoft.com/office/officeart/2005/8/layout/bProcess4"/>
    <dgm:cxn modelId="{9C0FB7B5-DF6A-4274-B0FB-6575A05F2133}" type="presParOf" srcId="{848639BB-C1E4-4C64-9CEE-5AF7EA4B1AB6}" destId="{A60DB317-BFDF-430A-9CC2-4371D91B65CF}" srcOrd="14" destOrd="0" presId="urn:microsoft.com/office/officeart/2005/8/layout/bProcess4"/>
    <dgm:cxn modelId="{DD54D860-22C9-4E50-A512-10C5EFFEAEB6}" type="presParOf" srcId="{A60DB317-BFDF-430A-9CC2-4371D91B65CF}" destId="{C9D2D773-8229-486C-AF40-A920A53C8918}" srcOrd="0" destOrd="0" presId="urn:microsoft.com/office/officeart/2005/8/layout/bProcess4"/>
    <dgm:cxn modelId="{924C8665-5185-4D45-A21C-7B6686900C6E}" type="presParOf" srcId="{A60DB317-BFDF-430A-9CC2-4371D91B65CF}" destId="{33CAFEFF-8779-41E5-BD38-FCD1BA49B053}" srcOrd="1" destOrd="0" presId="urn:microsoft.com/office/officeart/2005/8/layout/bProcess4"/>
    <dgm:cxn modelId="{406E9E56-7C59-4743-9D75-EB67531D024E}" type="presParOf" srcId="{848639BB-C1E4-4C64-9CEE-5AF7EA4B1AB6}" destId="{B8CB72CD-AB94-4DF1-A786-F49F4D1BFBBF}" srcOrd="15" destOrd="0" presId="urn:microsoft.com/office/officeart/2005/8/layout/bProcess4"/>
    <dgm:cxn modelId="{67527C37-C886-40A7-BE8B-93CAE694E295}" type="presParOf" srcId="{848639BB-C1E4-4C64-9CEE-5AF7EA4B1AB6}" destId="{10EE582F-1099-400E-BEE4-552BB9D99044}" srcOrd="16" destOrd="0" presId="urn:microsoft.com/office/officeart/2005/8/layout/bProcess4"/>
    <dgm:cxn modelId="{7FA6E553-914B-4682-8F6B-91267BED4E89}" type="presParOf" srcId="{10EE582F-1099-400E-BEE4-552BB9D99044}" destId="{95EB3E79-3FB1-4F77-9AAF-2F6429C2F5EE}" srcOrd="0" destOrd="0" presId="urn:microsoft.com/office/officeart/2005/8/layout/bProcess4"/>
    <dgm:cxn modelId="{3B727EEC-73AF-4D3C-BED6-E5BA181F40ED}" type="presParOf" srcId="{10EE582F-1099-400E-BEE4-552BB9D99044}" destId="{5E73E226-0ECB-445B-92CB-4EC7766B68AA}" srcOrd="1" destOrd="0" presId="urn:microsoft.com/office/officeart/2005/8/layout/bProcess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11.xml><?xml version="1.0" encoding="utf-8"?>
<dgm:dataModel xmlns:dgm="http://schemas.openxmlformats.org/drawingml/2006/diagram" xmlns:a="http://schemas.openxmlformats.org/drawingml/2006/main">
  <dgm:ptLst>
    <dgm:pt modelId="{366DEDAA-24E7-443D-BEA5-656EFFEE7266}" type="doc">
      <dgm:prSet loTypeId="urn:microsoft.com/office/officeart/2005/8/layout/chevron1" loCatId="process" qsTypeId="urn:microsoft.com/office/officeart/2005/8/quickstyle/simple1" qsCatId="simple" csTypeId="urn:microsoft.com/office/officeart/2005/8/colors/accent4_1" csCatId="accent4" phldr="1"/>
      <dgm:spPr/>
      <dgm:t>
        <a:bodyPr/>
        <a:lstStyle/>
        <a:p>
          <a:endParaRPr lang="ru-RU"/>
        </a:p>
      </dgm:t>
    </dgm:pt>
    <dgm:pt modelId="{398A8CAF-9FEE-43BF-A8C9-2246F449BD1D}">
      <dgm:prSet phldrT="[Текст]" custT="1"/>
      <dgm:spPr>
        <a:ln w="63500">
          <a:solidFill>
            <a:schemeClr val="accent5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sz="1800" b="1" dirty="0" smtClean="0"/>
            <a:t>Обновлены ФГОС НОО, ФГОС ООО</a:t>
          </a:r>
          <a:endParaRPr lang="ru-RU" sz="1800" dirty="0"/>
        </a:p>
      </dgm:t>
    </dgm:pt>
    <dgm:pt modelId="{506EEAF8-CEA6-45E7-9AD0-6DB4EAD83E3C}" type="parTrans" cxnId="{F99BAB9C-FB80-44F8-96D9-5A7C0BA209A0}">
      <dgm:prSet/>
      <dgm:spPr/>
      <dgm:t>
        <a:bodyPr/>
        <a:lstStyle/>
        <a:p>
          <a:endParaRPr lang="ru-RU" sz="2800"/>
        </a:p>
      </dgm:t>
    </dgm:pt>
    <dgm:pt modelId="{DE5AB89F-9352-4753-91D0-A0AD7720C093}" type="sibTrans" cxnId="{F99BAB9C-FB80-44F8-96D9-5A7C0BA209A0}">
      <dgm:prSet/>
      <dgm:spPr/>
      <dgm:t>
        <a:bodyPr/>
        <a:lstStyle/>
        <a:p>
          <a:endParaRPr lang="ru-RU" sz="2800"/>
        </a:p>
      </dgm:t>
    </dgm:pt>
    <dgm:pt modelId="{767071F6-3991-4E8A-A3E7-80DC49CAE478}">
      <dgm:prSet custT="1"/>
      <dgm:spPr>
        <a:ln w="63500">
          <a:solidFill>
            <a:schemeClr val="accent5">
              <a:lumMod val="60000"/>
              <a:lumOff val="40000"/>
            </a:schemeClr>
          </a:solidFill>
        </a:ln>
      </dgm:spPr>
      <dgm:t>
        <a:bodyPr/>
        <a:lstStyle/>
        <a:p>
          <a:pPr>
            <a:lnSpc>
              <a:spcPct val="80000"/>
            </a:lnSpc>
          </a:pPr>
          <a:r>
            <a:rPr lang="ru-RU" sz="1800" b="1" dirty="0" smtClean="0"/>
            <a:t>Обновлены Примерные ООП НОО,</a:t>
          </a:r>
          <a:br>
            <a:rPr lang="ru-RU" sz="1800" b="1" dirty="0" smtClean="0"/>
          </a:br>
          <a:r>
            <a:rPr lang="ru-RU" sz="1800" b="1" dirty="0" smtClean="0"/>
            <a:t>ООП ООО</a:t>
          </a:r>
          <a:endParaRPr lang="ru-RU" sz="1800" b="1" dirty="0"/>
        </a:p>
      </dgm:t>
    </dgm:pt>
    <dgm:pt modelId="{07047B9C-787A-4536-8E22-F86961EC2DD8}" type="parTrans" cxnId="{EDFBB5F2-8FD8-43FF-BEC4-BB3878B8E577}">
      <dgm:prSet/>
      <dgm:spPr/>
      <dgm:t>
        <a:bodyPr/>
        <a:lstStyle/>
        <a:p>
          <a:endParaRPr lang="ru-RU" sz="2800"/>
        </a:p>
      </dgm:t>
    </dgm:pt>
    <dgm:pt modelId="{33934C5D-2271-47E0-BD5E-79E74CA87936}" type="sibTrans" cxnId="{EDFBB5F2-8FD8-43FF-BEC4-BB3878B8E577}">
      <dgm:prSet/>
      <dgm:spPr/>
      <dgm:t>
        <a:bodyPr/>
        <a:lstStyle/>
        <a:p>
          <a:endParaRPr lang="ru-RU" sz="2800"/>
        </a:p>
      </dgm:t>
    </dgm:pt>
    <dgm:pt modelId="{A6D49435-3618-463D-98FC-AEBD2D843648}">
      <dgm:prSet custT="1"/>
      <dgm:spPr>
        <a:ln w="63500">
          <a:solidFill>
            <a:schemeClr val="accent5">
              <a:lumMod val="60000"/>
              <a:lumOff val="40000"/>
            </a:schemeClr>
          </a:solidFill>
        </a:ln>
      </dgm:spPr>
      <dgm:t>
        <a:bodyPr/>
        <a:lstStyle/>
        <a:p>
          <a:pPr>
            <a:lnSpc>
              <a:spcPct val="80000"/>
            </a:lnSpc>
          </a:pPr>
          <a:r>
            <a:rPr lang="ru-RU" sz="1800" b="1" dirty="0" smtClean="0"/>
            <a:t>Организована методическая поддержка педагогов </a:t>
          </a:r>
          <a:br>
            <a:rPr lang="ru-RU" sz="1800" b="1" dirty="0" smtClean="0"/>
          </a:br>
          <a:r>
            <a:rPr lang="ru-RU" sz="1800" b="1" dirty="0" smtClean="0"/>
            <a:t>и семей с детьми</a:t>
          </a:r>
          <a:endParaRPr lang="ru-RU" sz="1800" b="1" dirty="0"/>
        </a:p>
      </dgm:t>
    </dgm:pt>
    <dgm:pt modelId="{D52AF198-FF2B-44FE-B18C-1501BB4B0E40}" type="parTrans" cxnId="{55C06929-643F-4EED-B846-6833D49D4DB8}">
      <dgm:prSet/>
      <dgm:spPr/>
      <dgm:t>
        <a:bodyPr/>
        <a:lstStyle/>
        <a:p>
          <a:endParaRPr lang="ru-RU" sz="2800"/>
        </a:p>
      </dgm:t>
    </dgm:pt>
    <dgm:pt modelId="{0D152D25-B415-4767-8BC4-C24305487FCF}" type="sibTrans" cxnId="{55C06929-643F-4EED-B846-6833D49D4DB8}">
      <dgm:prSet/>
      <dgm:spPr/>
      <dgm:t>
        <a:bodyPr/>
        <a:lstStyle/>
        <a:p>
          <a:endParaRPr lang="ru-RU" sz="2800"/>
        </a:p>
      </dgm:t>
    </dgm:pt>
    <dgm:pt modelId="{19536B12-BAFC-42BF-9BFA-9A1CAFBD52E6}">
      <dgm:prSet custT="1"/>
      <dgm:spPr/>
      <dgm:t>
        <a:bodyPr/>
        <a:lstStyle/>
        <a:p>
          <a:r>
            <a:rPr lang="ru-RU" sz="1800" b="1" dirty="0" smtClean="0">
              <a:solidFill>
                <a:schemeClr val="accent4">
                  <a:lumMod val="75000"/>
                </a:schemeClr>
              </a:solidFill>
            </a:rPr>
            <a:t>Обновлен </a:t>
          </a:r>
          <a:br>
            <a:rPr lang="ru-RU" sz="1800" b="1" dirty="0" smtClean="0">
              <a:solidFill>
                <a:schemeClr val="accent4">
                  <a:lumMod val="75000"/>
                </a:schemeClr>
              </a:solidFill>
            </a:rPr>
          </a:br>
          <a:r>
            <a:rPr lang="ru-RU" sz="1800" b="1" dirty="0" smtClean="0">
              <a:solidFill>
                <a:schemeClr val="accent4">
                  <a:lumMod val="75000"/>
                </a:schemeClr>
              </a:solidFill>
            </a:rPr>
            <a:t>ФГОС СОО </a:t>
          </a:r>
          <a:br>
            <a:rPr lang="ru-RU" sz="1800" b="1" dirty="0" smtClean="0">
              <a:solidFill>
                <a:schemeClr val="accent4">
                  <a:lumMod val="75000"/>
                </a:schemeClr>
              </a:solidFill>
            </a:rPr>
          </a:br>
          <a:r>
            <a:rPr lang="ru-RU" sz="1800" b="1" dirty="0" smtClean="0">
              <a:solidFill>
                <a:schemeClr val="accent4">
                  <a:lumMod val="75000"/>
                </a:schemeClr>
              </a:solidFill>
            </a:rPr>
            <a:t>и программы СОО</a:t>
          </a:r>
          <a:endParaRPr lang="ru-RU" sz="1800" b="1" dirty="0"/>
        </a:p>
      </dgm:t>
    </dgm:pt>
    <dgm:pt modelId="{38257105-DEF0-4C6B-B8E7-F28DF44DEB50}" type="parTrans" cxnId="{59CB116F-4C62-42A4-9CED-151D1A1486ED}">
      <dgm:prSet/>
      <dgm:spPr/>
      <dgm:t>
        <a:bodyPr/>
        <a:lstStyle/>
        <a:p>
          <a:endParaRPr lang="ru-RU" sz="2800"/>
        </a:p>
      </dgm:t>
    </dgm:pt>
    <dgm:pt modelId="{CEC9BFE6-609D-4F86-B706-04694B91F351}" type="sibTrans" cxnId="{59CB116F-4C62-42A4-9CED-151D1A1486ED}">
      <dgm:prSet/>
      <dgm:spPr/>
      <dgm:t>
        <a:bodyPr/>
        <a:lstStyle/>
        <a:p>
          <a:endParaRPr lang="ru-RU" sz="2800"/>
        </a:p>
      </dgm:t>
    </dgm:pt>
    <dgm:pt modelId="{79C427BC-D733-4CD1-833F-B7196D43CE91}" type="pres">
      <dgm:prSet presAssocID="{366DEDAA-24E7-443D-BEA5-656EFFEE7266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707DFA51-1BE8-4B96-A032-0767946BAEC6}" type="pres">
      <dgm:prSet presAssocID="{398A8CAF-9FEE-43BF-A8C9-2246F449BD1D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00D0010-FD28-4F02-A3C3-3A62CDF6E9AF}" type="pres">
      <dgm:prSet presAssocID="{DE5AB89F-9352-4753-91D0-A0AD7720C093}" presName="parTxOnlySpace" presStyleCnt="0"/>
      <dgm:spPr/>
    </dgm:pt>
    <dgm:pt modelId="{0080E53A-AD44-4561-96BC-7C0F2EA5ABAC}" type="pres">
      <dgm:prSet presAssocID="{767071F6-3991-4E8A-A3E7-80DC49CAE478}" presName="parTxOnly" presStyleLbl="node1" presStyleIdx="1" presStyleCnt="4" custScaleX="9899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E12F50E-43B3-401F-866F-E518FE8C231B}" type="pres">
      <dgm:prSet presAssocID="{33934C5D-2271-47E0-BD5E-79E74CA87936}" presName="parTxOnlySpace" presStyleCnt="0"/>
      <dgm:spPr/>
    </dgm:pt>
    <dgm:pt modelId="{27832671-7BEF-4927-872D-F9B49300A121}" type="pres">
      <dgm:prSet presAssocID="{A6D49435-3618-463D-98FC-AEBD2D843648}" presName="parTxOnly" presStyleLbl="node1" presStyleIdx="2" presStyleCnt="4" custScaleX="12929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1B64A8C-2BD6-4056-93D5-5B61853A93AE}" type="pres">
      <dgm:prSet presAssocID="{0D152D25-B415-4767-8BC4-C24305487FCF}" presName="parTxOnlySpace" presStyleCnt="0"/>
      <dgm:spPr/>
    </dgm:pt>
    <dgm:pt modelId="{6CCDD517-E5D7-46C4-A9F4-00D64C64981D}" type="pres">
      <dgm:prSet presAssocID="{19536B12-BAFC-42BF-9BFA-9A1CAFBD52E6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DA3DBF78-9C7A-45FD-A058-5CF7B2C458ED}" type="presOf" srcId="{A6D49435-3618-463D-98FC-AEBD2D843648}" destId="{27832671-7BEF-4927-872D-F9B49300A121}" srcOrd="0" destOrd="0" presId="urn:microsoft.com/office/officeart/2005/8/layout/chevron1"/>
    <dgm:cxn modelId="{5507FE28-A37C-4AB0-BFD9-E86FC5135DE1}" type="presOf" srcId="{19536B12-BAFC-42BF-9BFA-9A1CAFBD52E6}" destId="{6CCDD517-E5D7-46C4-A9F4-00D64C64981D}" srcOrd="0" destOrd="0" presId="urn:microsoft.com/office/officeart/2005/8/layout/chevron1"/>
    <dgm:cxn modelId="{F99BAB9C-FB80-44F8-96D9-5A7C0BA209A0}" srcId="{366DEDAA-24E7-443D-BEA5-656EFFEE7266}" destId="{398A8CAF-9FEE-43BF-A8C9-2246F449BD1D}" srcOrd="0" destOrd="0" parTransId="{506EEAF8-CEA6-45E7-9AD0-6DB4EAD83E3C}" sibTransId="{DE5AB89F-9352-4753-91D0-A0AD7720C093}"/>
    <dgm:cxn modelId="{EB41CCD5-EC1D-4851-AF1E-778E0C4F5AB7}" type="presOf" srcId="{398A8CAF-9FEE-43BF-A8C9-2246F449BD1D}" destId="{707DFA51-1BE8-4B96-A032-0767946BAEC6}" srcOrd="0" destOrd="0" presId="urn:microsoft.com/office/officeart/2005/8/layout/chevron1"/>
    <dgm:cxn modelId="{59CB116F-4C62-42A4-9CED-151D1A1486ED}" srcId="{366DEDAA-24E7-443D-BEA5-656EFFEE7266}" destId="{19536B12-BAFC-42BF-9BFA-9A1CAFBD52E6}" srcOrd="3" destOrd="0" parTransId="{38257105-DEF0-4C6B-B8E7-F28DF44DEB50}" sibTransId="{CEC9BFE6-609D-4F86-B706-04694B91F351}"/>
    <dgm:cxn modelId="{55C06929-643F-4EED-B846-6833D49D4DB8}" srcId="{366DEDAA-24E7-443D-BEA5-656EFFEE7266}" destId="{A6D49435-3618-463D-98FC-AEBD2D843648}" srcOrd="2" destOrd="0" parTransId="{D52AF198-FF2B-44FE-B18C-1501BB4B0E40}" sibTransId="{0D152D25-B415-4767-8BC4-C24305487FCF}"/>
    <dgm:cxn modelId="{2DFAAB9E-051C-4C75-A5A5-C18F80CFCE06}" type="presOf" srcId="{767071F6-3991-4E8A-A3E7-80DC49CAE478}" destId="{0080E53A-AD44-4561-96BC-7C0F2EA5ABAC}" srcOrd="0" destOrd="0" presId="urn:microsoft.com/office/officeart/2005/8/layout/chevron1"/>
    <dgm:cxn modelId="{444EEBF1-44B6-4356-8AEF-4BC58730F57F}" type="presOf" srcId="{366DEDAA-24E7-443D-BEA5-656EFFEE7266}" destId="{79C427BC-D733-4CD1-833F-B7196D43CE91}" srcOrd="0" destOrd="0" presId="urn:microsoft.com/office/officeart/2005/8/layout/chevron1"/>
    <dgm:cxn modelId="{EDFBB5F2-8FD8-43FF-BEC4-BB3878B8E577}" srcId="{366DEDAA-24E7-443D-BEA5-656EFFEE7266}" destId="{767071F6-3991-4E8A-A3E7-80DC49CAE478}" srcOrd="1" destOrd="0" parTransId="{07047B9C-787A-4536-8E22-F86961EC2DD8}" sibTransId="{33934C5D-2271-47E0-BD5E-79E74CA87936}"/>
    <dgm:cxn modelId="{A064BF86-6346-4B45-9F33-5763DC325B4E}" type="presParOf" srcId="{79C427BC-D733-4CD1-833F-B7196D43CE91}" destId="{707DFA51-1BE8-4B96-A032-0767946BAEC6}" srcOrd="0" destOrd="0" presId="urn:microsoft.com/office/officeart/2005/8/layout/chevron1"/>
    <dgm:cxn modelId="{559E959D-7312-4777-B9CF-8FBC4691E79C}" type="presParOf" srcId="{79C427BC-D733-4CD1-833F-B7196D43CE91}" destId="{300D0010-FD28-4F02-A3C3-3A62CDF6E9AF}" srcOrd="1" destOrd="0" presId="urn:microsoft.com/office/officeart/2005/8/layout/chevron1"/>
    <dgm:cxn modelId="{34BC04F2-EE15-483C-9A1D-6806BDCE6899}" type="presParOf" srcId="{79C427BC-D733-4CD1-833F-B7196D43CE91}" destId="{0080E53A-AD44-4561-96BC-7C0F2EA5ABAC}" srcOrd="2" destOrd="0" presId="urn:microsoft.com/office/officeart/2005/8/layout/chevron1"/>
    <dgm:cxn modelId="{23BA087F-A8D2-410A-8D5C-7BF5F344B6F5}" type="presParOf" srcId="{79C427BC-D733-4CD1-833F-B7196D43CE91}" destId="{2E12F50E-43B3-401F-866F-E518FE8C231B}" srcOrd="3" destOrd="0" presId="urn:microsoft.com/office/officeart/2005/8/layout/chevron1"/>
    <dgm:cxn modelId="{F13C4627-7716-4427-87FA-E463D7947448}" type="presParOf" srcId="{79C427BC-D733-4CD1-833F-B7196D43CE91}" destId="{27832671-7BEF-4927-872D-F9B49300A121}" srcOrd="4" destOrd="0" presId="urn:microsoft.com/office/officeart/2005/8/layout/chevron1"/>
    <dgm:cxn modelId="{B291CF9E-D877-4B6D-B57C-E5B9019EFCC5}" type="presParOf" srcId="{79C427BC-D733-4CD1-833F-B7196D43CE91}" destId="{11B64A8C-2BD6-4056-93D5-5B61853A93AE}" srcOrd="5" destOrd="0" presId="urn:microsoft.com/office/officeart/2005/8/layout/chevron1"/>
    <dgm:cxn modelId="{25354C43-3A33-4430-8777-C3D40D4DD6CE}" type="presParOf" srcId="{79C427BC-D733-4CD1-833F-B7196D43CE91}" destId="{6CCDD517-E5D7-46C4-A9F4-00D64C64981D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12.xml><?xml version="1.0" encoding="utf-8"?>
<dgm:dataModel xmlns:dgm="http://schemas.openxmlformats.org/drawingml/2006/diagram" xmlns:a="http://schemas.openxmlformats.org/drawingml/2006/main">
  <dgm:ptLst>
    <dgm:pt modelId="{C39048D7-A17B-4E57-9BFA-68E4BAFC1FCE}" type="doc">
      <dgm:prSet loTypeId="urn:microsoft.com/office/officeart/2005/8/layout/hierarchy4" loCatId="relationship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ru-RU"/>
        </a:p>
      </dgm:t>
    </dgm:pt>
    <dgm:pt modelId="{585AD38E-D930-4A0D-9BAA-2E1733824EBD}">
      <dgm:prSet phldrT="[Текст]"/>
      <dgm:spPr/>
      <dgm:t>
        <a:bodyPr/>
        <a:lstStyle/>
        <a:p>
          <a:r>
            <a:rPr lang="ru-RU" dirty="0" smtClean="0">
              <a:solidFill>
                <a:schemeClr val="accent4">
                  <a:lumMod val="75000"/>
                </a:schemeClr>
              </a:solidFill>
            </a:rPr>
            <a:t>Федеральное УМО </a:t>
          </a:r>
          <a:br>
            <a:rPr lang="ru-RU" dirty="0" smtClean="0">
              <a:solidFill>
                <a:schemeClr val="accent4">
                  <a:lumMod val="75000"/>
                </a:schemeClr>
              </a:solidFill>
            </a:rPr>
          </a:br>
          <a:r>
            <a:rPr lang="ru-RU" dirty="0" smtClean="0">
              <a:solidFill>
                <a:schemeClr val="accent4">
                  <a:lumMod val="75000"/>
                </a:schemeClr>
              </a:solidFill>
            </a:rPr>
            <a:t>по общему образованию</a:t>
          </a:r>
          <a:endParaRPr lang="ru-RU" dirty="0">
            <a:solidFill>
              <a:schemeClr val="accent4">
                <a:lumMod val="75000"/>
              </a:schemeClr>
            </a:solidFill>
          </a:endParaRPr>
        </a:p>
      </dgm:t>
    </dgm:pt>
    <dgm:pt modelId="{28D67995-5F2F-403D-ADFD-0421949F6280}" type="parTrans" cxnId="{3FBB694B-3523-4252-AAD3-4EA9CD043192}">
      <dgm:prSet/>
      <dgm:spPr/>
      <dgm:t>
        <a:bodyPr/>
        <a:lstStyle/>
        <a:p>
          <a:endParaRPr lang="ru-RU"/>
        </a:p>
      </dgm:t>
    </dgm:pt>
    <dgm:pt modelId="{8AD60DAF-B1EC-4E91-8F1D-419D560DF02E}" type="sibTrans" cxnId="{3FBB694B-3523-4252-AAD3-4EA9CD043192}">
      <dgm:prSet/>
      <dgm:spPr/>
      <dgm:t>
        <a:bodyPr/>
        <a:lstStyle/>
        <a:p>
          <a:endParaRPr lang="ru-RU"/>
        </a:p>
      </dgm:t>
    </dgm:pt>
    <dgm:pt modelId="{C7458661-4663-44C1-B7DF-54A5252DC3AE}">
      <dgm:prSet phldrT="[Текст]" custT="1"/>
      <dgm:spPr/>
      <dgm:t>
        <a:bodyPr/>
        <a:lstStyle/>
        <a:p>
          <a:r>
            <a:rPr lang="ru-RU" sz="1800" b="1" dirty="0" smtClean="0">
              <a:solidFill>
                <a:schemeClr val="accent5">
                  <a:lumMod val="75000"/>
                </a:schemeClr>
              </a:solidFill>
            </a:rPr>
            <a:t>РАО</a:t>
          </a:r>
          <a:endParaRPr lang="ru-RU" sz="1800" b="1" dirty="0">
            <a:solidFill>
              <a:schemeClr val="accent5">
                <a:lumMod val="75000"/>
              </a:schemeClr>
            </a:solidFill>
          </a:endParaRPr>
        </a:p>
      </dgm:t>
    </dgm:pt>
    <dgm:pt modelId="{1936EE04-0ECF-4190-8FEC-9C336E31C584}" type="parTrans" cxnId="{11D4A12B-069F-4D33-A8BE-99B6893B0B72}">
      <dgm:prSet/>
      <dgm:spPr/>
      <dgm:t>
        <a:bodyPr/>
        <a:lstStyle/>
        <a:p>
          <a:endParaRPr lang="ru-RU"/>
        </a:p>
      </dgm:t>
    </dgm:pt>
    <dgm:pt modelId="{F02536E0-D01F-428C-93EE-76B60FFA756D}" type="sibTrans" cxnId="{11D4A12B-069F-4D33-A8BE-99B6893B0B72}">
      <dgm:prSet/>
      <dgm:spPr/>
      <dgm:t>
        <a:bodyPr/>
        <a:lstStyle/>
        <a:p>
          <a:endParaRPr lang="ru-RU"/>
        </a:p>
      </dgm:t>
    </dgm:pt>
    <dgm:pt modelId="{64B87FDA-4166-4734-9001-0773F167F76B}">
      <dgm:prSet phldrT="[Текст]" custT="1"/>
      <dgm:spPr/>
      <dgm:t>
        <a:bodyPr/>
        <a:lstStyle/>
        <a:p>
          <a:r>
            <a:rPr lang="ru-RU" sz="1100" b="1" dirty="0" smtClean="0">
              <a:solidFill>
                <a:schemeClr val="accent5">
                  <a:lumMod val="75000"/>
                </a:schemeClr>
              </a:solidFill>
            </a:rPr>
            <a:t>педагогические </a:t>
          </a:r>
          <a:r>
            <a:rPr lang="ru-RU" sz="1200" b="1" dirty="0" smtClean="0">
              <a:solidFill>
                <a:schemeClr val="accent5">
                  <a:lumMod val="75000"/>
                </a:schemeClr>
              </a:solidFill>
            </a:rPr>
            <a:t>университеты</a:t>
          </a:r>
          <a:endParaRPr lang="ru-RU" sz="1200" b="1" dirty="0">
            <a:solidFill>
              <a:schemeClr val="accent5">
                <a:lumMod val="75000"/>
              </a:schemeClr>
            </a:solidFill>
          </a:endParaRPr>
        </a:p>
      </dgm:t>
    </dgm:pt>
    <dgm:pt modelId="{504AFC2B-F17E-402C-B6A8-5F8971850A96}" type="parTrans" cxnId="{545F8E8E-E7A0-4D54-94BB-E5E17A48EE76}">
      <dgm:prSet/>
      <dgm:spPr/>
      <dgm:t>
        <a:bodyPr/>
        <a:lstStyle/>
        <a:p>
          <a:endParaRPr lang="ru-RU"/>
        </a:p>
      </dgm:t>
    </dgm:pt>
    <dgm:pt modelId="{E3779575-9F26-40EB-83A6-173CD17FCEAD}" type="sibTrans" cxnId="{545F8E8E-E7A0-4D54-94BB-E5E17A48EE76}">
      <dgm:prSet/>
      <dgm:spPr/>
      <dgm:t>
        <a:bodyPr/>
        <a:lstStyle/>
        <a:p>
          <a:endParaRPr lang="ru-RU"/>
        </a:p>
      </dgm:t>
    </dgm:pt>
    <dgm:pt modelId="{B02EF1B7-BBAC-4380-A866-1A140C9FC7BA}">
      <dgm:prSet phldrT="[Текст]" custT="1"/>
      <dgm:spPr/>
      <dgm:t>
        <a:bodyPr/>
        <a:lstStyle/>
        <a:p>
          <a:r>
            <a:rPr lang="ru-RU" sz="1400" b="1" dirty="0" smtClean="0">
              <a:solidFill>
                <a:schemeClr val="accent5">
                  <a:lumMod val="75000"/>
                </a:schemeClr>
              </a:solidFill>
            </a:rPr>
            <a:t>научные </a:t>
          </a:r>
          <a:r>
            <a:rPr lang="ru-RU" sz="1300" b="1" dirty="0" smtClean="0">
              <a:solidFill>
                <a:schemeClr val="accent5">
                  <a:lumMod val="75000"/>
                </a:schemeClr>
              </a:solidFill>
            </a:rPr>
            <a:t>организации</a:t>
          </a:r>
          <a:endParaRPr lang="ru-RU" sz="1300" b="1" dirty="0">
            <a:solidFill>
              <a:schemeClr val="accent5">
                <a:lumMod val="75000"/>
              </a:schemeClr>
            </a:solidFill>
          </a:endParaRPr>
        </a:p>
      </dgm:t>
    </dgm:pt>
    <dgm:pt modelId="{396CEED1-F308-47CA-B9F7-A558F3A88587}" type="parTrans" cxnId="{22F10250-1729-45FB-A4C2-5403E812CB5C}">
      <dgm:prSet/>
      <dgm:spPr/>
      <dgm:t>
        <a:bodyPr/>
        <a:lstStyle/>
        <a:p>
          <a:endParaRPr lang="ru-RU"/>
        </a:p>
      </dgm:t>
    </dgm:pt>
    <dgm:pt modelId="{49E660D6-F181-4282-ADF2-7F589C9E49F1}" type="sibTrans" cxnId="{22F10250-1729-45FB-A4C2-5403E812CB5C}">
      <dgm:prSet/>
      <dgm:spPr/>
      <dgm:t>
        <a:bodyPr/>
        <a:lstStyle/>
        <a:p>
          <a:endParaRPr lang="ru-RU"/>
        </a:p>
      </dgm:t>
    </dgm:pt>
    <dgm:pt modelId="{E8B826C7-ECAC-4DDE-9793-70A2C243C23E}">
      <dgm:prSet phldrT="[Текст]" custT="1"/>
      <dgm:spPr/>
      <dgm:t>
        <a:bodyPr/>
        <a:lstStyle/>
        <a:p>
          <a:r>
            <a:rPr lang="ru-RU" sz="1800" b="1" dirty="0" smtClean="0">
              <a:solidFill>
                <a:schemeClr val="tx2">
                  <a:lumMod val="75000"/>
                </a:schemeClr>
              </a:solidFill>
            </a:rPr>
            <a:t>ЦНППМ </a:t>
          </a:r>
          <a:endParaRPr lang="ru-RU" sz="1800" b="1" dirty="0">
            <a:solidFill>
              <a:schemeClr val="tx2">
                <a:lumMod val="75000"/>
              </a:schemeClr>
            </a:solidFill>
          </a:endParaRPr>
        </a:p>
      </dgm:t>
    </dgm:pt>
    <dgm:pt modelId="{A7148381-6EEE-44C6-9A14-17B928FB07EE}" type="parTrans" cxnId="{6CA39136-3AAA-4EF9-968B-F5046A37DE28}">
      <dgm:prSet/>
      <dgm:spPr/>
      <dgm:t>
        <a:bodyPr/>
        <a:lstStyle/>
        <a:p>
          <a:endParaRPr lang="ru-RU"/>
        </a:p>
      </dgm:t>
    </dgm:pt>
    <dgm:pt modelId="{C4B332AF-E0B8-467D-B0EF-401268F7E2B0}" type="sibTrans" cxnId="{6CA39136-3AAA-4EF9-968B-F5046A37DE28}">
      <dgm:prSet/>
      <dgm:spPr/>
      <dgm:t>
        <a:bodyPr/>
        <a:lstStyle/>
        <a:p>
          <a:endParaRPr lang="ru-RU"/>
        </a:p>
      </dgm:t>
    </dgm:pt>
    <dgm:pt modelId="{74CAA299-0338-4EAD-BA48-72C836AB0A72}">
      <dgm:prSet phldrT="[Текст]" custT="1"/>
      <dgm:spPr/>
      <dgm:t>
        <a:bodyPr/>
        <a:lstStyle/>
        <a:p>
          <a:r>
            <a:rPr lang="ru-RU" sz="1800" b="1" dirty="0" smtClean="0">
              <a:solidFill>
                <a:schemeClr val="tx2">
                  <a:lumMod val="75000"/>
                </a:schemeClr>
              </a:solidFill>
            </a:rPr>
            <a:t>ИПК</a:t>
          </a:r>
          <a:endParaRPr lang="ru-RU" sz="1800" b="1" dirty="0">
            <a:solidFill>
              <a:schemeClr val="tx2">
                <a:lumMod val="75000"/>
              </a:schemeClr>
            </a:solidFill>
          </a:endParaRPr>
        </a:p>
      </dgm:t>
    </dgm:pt>
    <dgm:pt modelId="{863CF674-9604-4BA6-9358-543C656C369F}" type="parTrans" cxnId="{42F61D9C-B794-404C-B231-9DF61BF25CE8}">
      <dgm:prSet/>
      <dgm:spPr/>
      <dgm:t>
        <a:bodyPr/>
        <a:lstStyle/>
        <a:p>
          <a:endParaRPr lang="ru-RU"/>
        </a:p>
      </dgm:t>
    </dgm:pt>
    <dgm:pt modelId="{F35616FE-DDDC-4F22-AD3D-0A0A1C20506B}" type="sibTrans" cxnId="{42F61D9C-B794-404C-B231-9DF61BF25CE8}">
      <dgm:prSet/>
      <dgm:spPr/>
      <dgm:t>
        <a:bodyPr/>
        <a:lstStyle/>
        <a:p>
          <a:endParaRPr lang="ru-RU"/>
        </a:p>
      </dgm:t>
    </dgm:pt>
    <dgm:pt modelId="{631E8431-97E1-4F81-8382-DCA4C8C4AF17}">
      <dgm:prSet phldrT="[Текст]" custT="1"/>
      <dgm:spPr/>
      <dgm:t>
        <a:bodyPr/>
        <a:lstStyle/>
        <a:p>
          <a:r>
            <a:rPr lang="ru-RU" sz="1800" b="1" dirty="0" smtClean="0">
              <a:solidFill>
                <a:schemeClr val="tx2">
                  <a:lumMod val="75000"/>
                </a:schemeClr>
              </a:solidFill>
            </a:rPr>
            <a:t>ИРО</a:t>
          </a:r>
          <a:endParaRPr lang="ru-RU" sz="1800" b="1" dirty="0">
            <a:solidFill>
              <a:schemeClr val="tx2">
                <a:lumMod val="75000"/>
              </a:schemeClr>
            </a:solidFill>
          </a:endParaRPr>
        </a:p>
      </dgm:t>
    </dgm:pt>
    <dgm:pt modelId="{F60D87EC-4CB9-4353-B6D3-260E2A75B28A}" type="parTrans" cxnId="{FA092A77-5960-4E28-B3F2-575A11F9C791}">
      <dgm:prSet/>
      <dgm:spPr/>
      <dgm:t>
        <a:bodyPr/>
        <a:lstStyle/>
        <a:p>
          <a:endParaRPr lang="ru-RU"/>
        </a:p>
      </dgm:t>
    </dgm:pt>
    <dgm:pt modelId="{1C8AF6F7-087B-4267-9EEF-59F15385A8A2}" type="sibTrans" cxnId="{FA092A77-5960-4E28-B3F2-575A11F9C791}">
      <dgm:prSet/>
      <dgm:spPr/>
      <dgm:t>
        <a:bodyPr/>
        <a:lstStyle/>
        <a:p>
          <a:endParaRPr lang="ru-RU"/>
        </a:p>
      </dgm:t>
    </dgm:pt>
    <dgm:pt modelId="{0BBA2089-CF4F-46C7-91BF-8E4AD2F7AAA1}" type="pres">
      <dgm:prSet presAssocID="{C39048D7-A17B-4E57-9BFA-68E4BAFC1FCE}" presName="Name0" presStyleCnt="0">
        <dgm:presLayoutVars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71F3D92E-6E21-43F9-BE43-C680808150A2}" type="pres">
      <dgm:prSet presAssocID="{585AD38E-D930-4A0D-9BAA-2E1733824EBD}" presName="vertOne" presStyleCnt="0"/>
      <dgm:spPr/>
    </dgm:pt>
    <dgm:pt modelId="{0C27C7EE-5285-497B-AB46-E151593E8F47}" type="pres">
      <dgm:prSet presAssocID="{585AD38E-D930-4A0D-9BAA-2E1733824EBD}" presName="txOn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6F1C6ECD-5FE2-4F91-890C-61BE061878FA}" type="pres">
      <dgm:prSet presAssocID="{585AD38E-D930-4A0D-9BAA-2E1733824EBD}" presName="parTransOne" presStyleCnt="0"/>
      <dgm:spPr/>
    </dgm:pt>
    <dgm:pt modelId="{94DE113E-725D-4047-AE14-4ABCC09E32B2}" type="pres">
      <dgm:prSet presAssocID="{585AD38E-D930-4A0D-9BAA-2E1733824EBD}" presName="horzOne" presStyleCnt="0"/>
      <dgm:spPr/>
    </dgm:pt>
    <dgm:pt modelId="{B455AB6B-735B-4C5D-BED5-EA4EAF4EB0EA}" type="pres">
      <dgm:prSet presAssocID="{C7458661-4663-44C1-B7DF-54A5252DC3AE}" presName="vertTwo" presStyleCnt="0"/>
      <dgm:spPr/>
    </dgm:pt>
    <dgm:pt modelId="{40A76A40-D013-4316-B371-47EED5B01C9C}" type="pres">
      <dgm:prSet presAssocID="{C7458661-4663-44C1-B7DF-54A5252DC3AE}" presName="txTwo" presStyleLbl="node2" presStyleIdx="0" presStyleCnt="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20693F9A-47F0-46E9-9668-752DA02BE29F}" type="pres">
      <dgm:prSet presAssocID="{C7458661-4663-44C1-B7DF-54A5252DC3AE}" presName="parTransTwo" presStyleCnt="0"/>
      <dgm:spPr/>
    </dgm:pt>
    <dgm:pt modelId="{05EE68D1-2BDB-4441-9930-E6B8AB3E1D62}" type="pres">
      <dgm:prSet presAssocID="{C7458661-4663-44C1-B7DF-54A5252DC3AE}" presName="horzTwo" presStyleCnt="0"/>
      <dgm:spPr/>
    </dgm:pt>
    <dgm:pt modelId="{A55B62CA-B6E2-442D-93B5-D076FE4B7BC3}" type="pres">
      <dgm:prSet presAssocID="{631E8431-97E1-4F81-8382-DCA4C8C4AF17}" presName="vertThree" presStyleCnt="0"/>
      <dgm:spPr/>
    </dgm:pt>
    <dgm:pt modelId="{4EBE2281-3CEC-4A7B-8A74-71E6F3DC5BA8}" type="pres">
      <dgm:prSet presAssocID="{631E8431-97E1-4F81-8382-DCA4C8C4AF17}" presName="txThree" presStyleLbl="node3" presStyleIdx="0" presStyleCnt="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CCABF969-5A69-4365-B753-AF97F096B74A}" type="pres">
      <dgm:prSet presAssocID="{631E8431-97E1-4F81-8382-DCA4C8C4AF17}" presName="horzThree" presStyleCnt="0"/>
      <dgm:spPr/>
    </dgm:pt>
    <dgm:pt modelId="{A2EFF84A-5DCA-4E90-B92C-9734EAF88B94}" type="pres">
      <dgm:prSet presAssocID="{F02536E0-D01F-428C-93EE-76B60FFA756D}" presName="sibSpaceTwo" presStyleCnt="0"/>
      <dgm:spPr/>
    </dgm:pt>
    <dgm:pt modelId="{8A20E6A4-1268-4CF4-8173-ADFB742BEBDA}" type="pres">
      <dgm:prSet presAssocID="{64B87FDA-4166-4734-9001-0773F167F76B}" presName="vertTwo" presStyleCnt="0"/>
      <dgm:spPr/>
    </dgm:pt>
    <dgm:pt modelId="{7C39BD0D-AABD-44FC-A26D-789A14CC1BEB}" type="pres">
      <dgm:prSet presAssocID="{64B87FDA-4166-4734-9001-0773F167F76B}" presName="txTwo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54015B34-8898-4549-97CC-10E436330500}" type="pres">
      <dgm:prSet presAssocID="{64B87FDA-4166-4734-9001-0773F167F76B}" presName="parTransTwo" presStyleCnt="0"/>
      <dgm:spPr/>
    </dgm:pt>
    <dgm:pt modelId="{456560D5-BA95-444B-A2F6-3E4DE9132DB5}" type="pres">
      <dgm:prSet presAssocID="{64B87FDA-4166-4734-9001-0773F167F76B}" presName="horzTwo" presStyleCnt="0"/>
      <dgm:spPr/>
    </dgm:pt>
    <dgm:pt modelId="{40422894-B306-4A62-A129-712B8C1449F4}" type="pres">
      <dgm:prSet presAssocID="{74CAA299-0338-4EAD-BA48-72C836AB0A72}" presName="vertThree" presStyleCnt="0"/>
      <dgm:spPr/>
    </dgm:pt>
    <dgm:pt modelId="{2FF699EE-328C-4E6F-9319-B6142C5BC5CB}" type="pres">
      <dgm:prSet presAssocID="{74CAA299-0338-4EAD-BA48-72C836AB0A72}" presName="txThree" presStyleLbl="node3" presStyleIdx="1" presStyleCnt="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F16296D-279F-48ED-81DB-E5DACC0080ED}" type="pres">
      <dgm:prSet presAssocID="{74CAA299-0338-4EAD-BA48-72C836AB0A72}" presName="horzThree" presStyleCnt="0"/>
      <dgm:spPr/>
    </dgm:pt>
    <dgm:pt modelId="{1AB25F53-2B6B-499B-9952-C0BD569419C1}" type="pres">
      <dgm:prSet presAssocID="{E3779575-9F26-40EB-83A6-173CD17FCEAD}" presName="sibSpaceTwo" presStyleCnt="0"/>
      <dgm:spPr/>
    </dgm:pt>
    <dgm:pt modelId="{7D884815-DC3B-4087-B9F2-32E9015ED17D}" type="pres">
      <dgm:prSet presAssocID="{B02EF1B7-BBAC-4380-A866-1A140C9FC7BA}" presName="vertTwo" presStyleCnt="0"/>
      <dgm:spPr/>
    </dgm:pt>
    <dgm:pt modelId="{EB42F1FD-820E-4BFC-BAB4-656AE0FEB5CD}" type="pres">
      <dgm:prSet presAssocID="{B02EF1B7-BBAC-4380-A866-1A140C9FC7BA}" presName="txTwo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6B0DEBB-83DE-43BE-A521-085689D07CC9}" type="pres">
      <dgm:prSet presAssocID="{B02EF1B7-BBAC-4380-A866-1A140C9FC7BA}" presName="parTransTwo" presStyleCnt="0"/>
      <dgm:spPr/>
    </dgm:pt>
    <dgm:pt modelId="{5587B28F-A595-4E7C-A9E1-296740196E70}" type="pres">
      <dgm:prSet presAssocID="{B02EF1B7-BBAC-4380-A866-1A140C9FC7BA}" presName="horzTwo" presStyleCnt="0"/>
      <dgm:spPr/>
    </dgm:pt>
    <dgm:pt modelId="{732B140A-2109-4165-8B8F-00D792D640B6}" type="pres">
      <dgm:prSet presAssocID="{E8B826C7-ECAC-4DDE-9793-70A2C243C23E}" presName="vertThree" presStyleCnt="0"/>
      <dgm:spPr/>
    </dgm:pt>
    <dgm:pt modelId="{5E3DCB8B-EE08-4A20-B911-F91B32B152F2}" type="pres">
      <dgm:prSet presAssocID="{E8B826C7-ECAC-4DDE-9793-70A2C243C23E}" presName="txThree" presStyleLbl="node3" presStyleIdx="2" presStyleCnt="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1E1A68E9-38BD-4219-8D77-675BE492B394}" type="pres">
      <dgm:prSet presAssocID="{E8B826C7-ECAC-4DDE-9793-70A2C243C23E}" presName="horzThree" presStyleCnt="0"/>
      <dgm:spPr/>
    </dgm:pt>
  </dgm:ptLst>
  <dgm:cxnLst>
    <dgm:cxn modelId="{11D4A12B-069F-4D33-A8BE-99B6893B0B72}" srcId="{585AD38E-D930-4A0D-9BAA-2E1733824EBD}" destId="{C7458661-4663-44C1-B7DF-54A5252DC3AE}" srcOrd="0" destOrd="0" parTransId="{1936EE04-0ECF-4190-8FEC-9C336E31C584}" sibTransId="{F02536E0-D01F-428C-93EE-76B60FFA756D}"/>
    <dgm:cxn modelId="{9E1D32C7-18ED-4DD9-8858-0335DDE371CF}" type="presOf" srcId="{C39048D7-A17B-4E57-9BFA-68E4BAFC1FCE}" destId="{0BBA2089-CF4F-46C7-91BF-8E4AD2F7AAA1}" srcOrd="0" destOrd="0" presId="urn:microsoft.com/office/officeart/2005/8/layout/hierarchy4"/>
    <dgm:cxn modelId="{A3747E84-EC97-47CD-BDCC-39336F07C510}" type="presOf" srcId="{B02EF1B7-BBAC-4380-A866-1A140C9FC7BA}" destId="{EB42F1FD-820E-4BFC-BAB4-656AE0FEB5CD}" srcOrd="0" destOrd="0" presId="urn:microsoft.com/office/officeart/2005/8/layout/hierarchy4"/>
    <dgm:cxn modelId="{545F8E8E-E7A0-4D54-94BB-E5E17A48EE76}" srcId="{585AD38E-D930-4A0D-9BAA-2E1733824EBD}" destId="{64B87FDA-4166-4734-9001-0773F167F76B}" srcOrd="1" destOrd="0" parTransId="{504AFC2B-F17E-402C-B6A8-5F8971850A96}" sibTransId="{E3779575-9F26-40EB-83A6-173CD17FCEAD}"/>
    <dgm:cxn modelId="{3AF5BEAE-64C5-4726-A05B-77DC1D6D3A11}" type="presOf" srcId="{64B87FDA-4166-4734-9001-0773F167F76B}" destId="{7C39BD0D-AABD-44FC-A26D-789A14CC1BEB}" srcOrd="0" destOrd="0" presId="urn:microsoft.com/office/officeart/2005/8/layout/hierarchy4"/>
    <dgm:cxn modelId="{E078F7A9-DCB1-46D5-87F8-56E8417A9651}" type="presOf" srcId="{631E8431-97E1-4F81-8382-DCA4C8C4AF17}" destId="{4EBE2281-3CEC-4A7B-8A74-71E6F3DC5BA8}" srcOrd="0" destOrd="0" presId="urn:microsoft.com/office/officeart/2005/8/layout/hierarchy4"/>
    <dgm:cxn modelId="{6CA39136-3AAA-4EF9-968B-F5046A37DE28}" srcId="{B02EF1B7-BBAC-4380-A866-1A140C9FC7BA}" destId="{E8B826C7-ECAC-4DDE-9793-70A2C243C23E}" srcOrd="0" destOrd="0" parTransId="{A7148381-6EEE-44C6-9A14-17B928FB07EE}" sibTransId="{C4B332AF-E0B8-467D-B0EF-401268F7E2B0}"/>
    <dgm:cxn modelId="{2C62426D-EA0C-45D3-A7B6-E2AE0D17D1CF}" type="presOf" srcId="{C7458661-4663-44C1-B7DF-54A5252DC3AE}" destId="{40A76A40-D013-4316-B371-47EED5B01C9C}" srcOrd="0" destOrd="0" presId="urn:microsoft.com/office/officeart/2005/8/layout/hierarchy4"/>
    <dgm:cxn modelId="{42F61D9C-B794-404C-B231-9DF61BF25CE8}" srcId="{64B87FDA-4166-4734-9001-0773F167F76B}" destId="{74CAA299-0338-4EAD-BA48-72C836AB0A72}" srcOrd="0" destOrd="0" parTransId="{863CF674-9604-4BA6-9358-543C656C369F}" sibTransId="{F35616FE-DDDC-4F22-AD3D-0A0A1C20506B}"/>
    <dgm:cxn modelId="{FA092A77-5960-4E28-B3F2-575A11F9C791}" srcId="{C7458661-4663-44C1-B7DF-54A5252DC3AE}" destId="{631E8431-97E1-4F81-8382-DCA4C8C4AF17}" srcOrd="0" destOrd="0" parTransId="{F60D87EC-4CB9-4353-B6D3-260E2A75B28A}" sibTransId="{1C8AF6F7-087B-4267-9EEF-59F15385A8A2}"/>
    <dgm:cxn modelId="{3FBB694B-3523-4252-AAD3-4EA9CD043192}" srcId="{C39048D7-A17B-4E57-9BFA-68E4BAFC1FCE}" destId="{585AD38E-D930-4A0D-9BAA-2E1733824EBD}" srcOrd="0" destOrd="0" parTransId="{28D67995-5F2F-403D-ADFD-0421949F6280}" sibTransId="{8AD60DAF-B1EC-4E91-8F1D-419D560DF02E}"/>
    <dgm:cxn modelId="{FF365C9A-4E7E-437E-9188-9591CB5C811D}" type="presOf" srcId="{74CAA299-0338-4EAD-BA48-72C836AB0A72}" destId="{2FF699EE-328C-4E6F-9319-B6142C5BC5CB}" srcOrd="0" destOrd="0" presId="urn:microsoft.com/office/officeart/2005/8/layout/hierarchy4"/>
    <dgm:cxn modelId="{6E6D3793-AAC7-482B-B6E2-C84470C93486}" type="presOf" srcId="{585AD38E-D930-4A0D-9BAA-2E1733824EBD}" destId="{0C27C7EE-5285-497B-AB46-E151593E8F47}" srcOrd="0" destOrd="0" presId="urn:microsoft.com/office/officeart/2005/8/layout/hierarchy4"/>
    <dgm:cxn modelId="{814E356D-4FE8-4E38-8A30-95D1FA19BE69}" type="presOf" srcId="{E8B826C7-ECAC-4DDE-9793-70A2C243C23E}" destId="{5E3DCB8B-EE08-4A20-B911-F91B32B152F2}" srcOrd="0" destOrd="0" presId="urn:microsoft.com/office/officeart/2005/8/layout/hierarchy4"/>
    <dgm:cxn modelId="{22F10250-1729-45FB-A4C2-5403E812CB5C}" srcId="{585AD38E-D930-4A0D-9BAA-2E1733824EBD}" destId="{B02EF1B7-BBAC-4380-A866-1A140C9FC7BA}" srcOrd="2" destOrd="0" parTransId="{396CEED1-F308-47CA-B9F7-A558F3A88587}" sibTransId="{49E660D6-F181-4282-ADF2-7F589C9E49F1}"/>
    <dgm:cxn modelId="{F9928016-13D1-4950-A367-E057787FE61F}" type="presParOf" srcId="{0BBA2089-CF4F-46C7-91BF-8E4AD2F7AAA1}" destId="{71F3D92E-6E21-43F9-BE43-C680808150A2}" srcOrd="0" destOrd="0" presId="urn:microsoft.com/office/officeart/2005/8/layout/hierarchy4"/>
    <dgm:cxn modelId="{3704BE8B-0D01-4B09-9CD9-74B1D9964A32}" type="presParOf" srcId="{71F3D92E-6E21-43F9-BE43-C680808150A2}" destId="{0C27C7EE-5285-497B-AB46-E151593E8F47}" srcOrd="0" destOrd="0" presId="urn:microsoft.com/office/officeart/2005/8/layout/hierarchy4"/>
    <dgm:cxn modelId="{70C77E40-BEE6-41CD-90EF-AE6E60432765}" type="presParOf" srcId="{71F3D92E-6E21-43F9-BE43-C680808150A2}" destId="{6F1C6ECD-5FE2-4F91-890C-61BE061878FA}" srcOrd="1" destOrd="0" presId="urn:microsoft.com/office/officeart/2005/8/layout/hierarchy4"/>
    <dgm:cxn modelId="{54E977C5-7524-41C0-A940-3F247D1F553B}" type="presParOf" srcId="{71F3D92E-6E21-43F9-BE43-C680808150A2}" destId="{94DE113E-725D-4047-AE14-4ABCC09E32B2}" srcOrd="2" destOrd="0" presId="urn:microsoft.com/office/officeart/2005/8/layout/hierarchy4"/>
    <dgm:cxn modelId="{D31DDFEF-2427-4C6D-A143-56203129B1EA}" type="presParOf" srcId="{94DE113E-725D-4047-AE14-4ABCC09E32B2}" destId="{B455AB6B-735B-4C5D-BED5-EA4EAF4EB0EA}" srcOrd="0" destOrd="0" presId="urn:microsoft.com/office/officeart/2005/8/layout/hierarchy4"/>
    <dgm:cxn modelId="{F00D8006-2B75-4348-9EDB-957A982B4791}" type="presParOf" srcId="{B455AB6B-735B-4C5D-BED5-EA4EAF4EB0EA}" destId="{40A76A40-D013-4316-B371-47EED5B01C9C}" srcOrd="0" destOrd="0" presId="urn:microsoft.com/office/officeart/2005/8/layout/hierarchy4"/>
    <dgm:cxn modelId="{6EFFC4FB-D81E-407B-94BF-54A564F08C2F}" type="presParOf" srcId="{B455AB6B-735B-4C5D-BED5-EA4EAF4EB0EA}" destId="{20693F9A-47F0-46E9-9668-752DA02BE29F}" srcOrd="1" destOrd="0" presId="urn:microsoft.com/office/officeart/2005/8/layout/hierarchy4"/>
    <dgm:cxn modelId="{5ACAA29E-5787-45FF-9695-2F822E177E20}" type="presParOf" srcId="{B455AB6B-735B-4C5D-BED5-EA4EAF4EB0EA}" destId="{05EE68D1-2BDB-4441-9930-E6B8AB3E1D62}" srcOrd="2" destOrd="0" presId="urn:microsoft.com/office/officeart/2005/8/layout/hierarchy4"/>
    <dgm:cxn modelId="{93C26CF4-B3BF-4ACB-8504-4FF9D0CD6253}" type="presParOf" srcId="{05EE68D1-2BDB-4441-9930-E6B8AB3E1D62}" destId="{A55B62CA-B6E2-442D-93B5-D076FE4B7BC3}" srcOrd="0" destOrd="0" presId="urn:microsoft.com/office/officeart/2005/8/layout/hierarchy4"/>
    <dgm:cxn modelId="{9A39CA44-1548-4C07-B329-BF1CA2F7FF66}" type="presParOf" srcId="{A55B62CA-B6E2-442D-93B5-D076FE4B7BC3}" destId="{4EBE2281-3CEC-4A7B-8A74-71E6F3DC5BA8}" srcOrd="0" destOrd="0" presId="urn:microsoft.com/office/officeart/2005/8/layout/hierarchy4"/>
    <dgm:cxn modelId="{CB64FA5C-236C-438B-8F4F-E41D5F87658C}" type="presParOf" srcId="{A55B62CA-B6E2-442D-93B5-D076FE4B7BC3}" destId="{CCABF969-5A69-4365-B753-AF97F096B74A}" srcOrd="1" destOrd="0" presId="urn:microsoft.com/office/officeart/2005/8/layout/hierarchy4"/>
    <dgm:cxn modelId="{8D1189C1-6FA2-4FAA-AD51-B745648C14CD}" type="presParOf" srcId="{94DE113E-725D-4047-AE14-4ABCC09E32B2}" destId="{A2EFF84A-5DCA-4E90-B92C-9734EAF88B94}" srcOrd="1" destOrd="0" presId="urn:microsoft.com/office/officeart/2005/8/layout/hierarchy4"/>
    <dgm:cxn modelId="{F4652B17-EB99-4613-93B5-5B1FF0BB161A}" type="presParOf" srcId="{94DE113E-725D-4047-AE14-4ABCC09E32B2}" destId="{8A20E6A4-1268-4CF4-8173-ADFB742BEBDA}" srcOrd="2" destOrd="0" presId="urn:microsoft.com/office/officeart/2005/8/layout/hierarchy4"/>
    <dgm:cxn modelId="{4BDD1D02-60E1-4BB9-BC28-E8B5DD6A65AA}" type="presParOf" srcId="{8A20E6A4-1268-4CF4-8173-ADFB742BEBDA}" destId="{7C39BD0D-AABD-44FC-A26D-789A14CC1BEB}" srcOrd="0" destOrd="0" presId="urn:microsoft.com/office/officeart/2005/8/layout/hierarchy4"/>
    <dgm:cxn modelId="{78BF7296-4DEA-4518-AEC3-9FA179EA755C}" type="presParOf" srcId="{8A20E6A4-1268-4CF4-8173-ADFB742BEBDA}" destId="{54015B34-8898-4549-97CC-10E436330500}" srcOrd="1" destOrd="0" presId="urn:microsoft.com/office/officeart/2005/8/layout/hierarchy4"/>
    <dgm:cxn modelId="{663E8398-5106-45E8-BBE9-DF5E2F31AEB3}" type="presParOf" srcId="{8A20E6A4-1268-4CF4-8173-ADFB742BEBDA}" destId="{456560D5-BA95-444B-A2F6-3E4DE9132DB5}" srcOrd="2" destOrd="0" presId="urn:microsoft.com/office/officeart/2005/8/layout/hierarchy4"/>
    <dgm:cxn modelId="{AA44052A-4431-4141-B8A0-B368601E204C}" type="presParOf" srcId="{456560D5-BA95-444B-A2F6-3E4DE9132DB5}" destId="{40422894-B306-4A62-A129-712B8C1449F4}" srcOrd="0" destOrd="0" presId="urn:microsoft.com/office/officeart/2005/8/layout/hierarchy4"/>
    <dgm:cxn modelId="{D4E61804-D0B5-4219-9CE1-A4BB50F5CB92}" type="presParOf" srcId="{40422894-B306-4A62-A129-712B8C1449F4}" destId="{2FF699EE-328C-4E6F-9319-B6142C5BC5CB}" srcOrd="0" destOrd="0" presId="urn:microsoft.com/office/officeart/2005/8/layout/hierarchy4"/>
    <dgm:cxn modelId="{6ACA601C-D55A-443E-80A6-27C2AA1D0A1C}" type="presParOf" srcId="{40422894-B306-4A62-A129-712B8C1449F4}" destId="{BF16296D-279F-48ED-81DB-E5DACC0080ED}" srcOrd="1" destOrd="0" presId="urn:microsoft.com/office/officeart/2005/8/layout/hierarchy4"/>
    <dgm:cxn modelId="{8C3CDEA4-57EB-4283-821F-56CBFFDBBCC2}" type="presParOf" srcId="{94DE113E-725D-4047-AE14-4ABCC09E32B2}" destId="{1AB25F53-2B6B-499B-9952-C0BD569419C1}" srcOrd="3" destOrd="0" presId="urn:microsoft.com/office/officeart/2005/8/layout/hierarchy4"/>
    <dgm:cxn modelId="{22D8B9A8-D2E8-4F7C-AA21-90DE28BB588C}" type="presParOf" srcId="{94DE113E-725D-4047-AE14-4ABCC09E32B2}" destId="{7D884815-DC3B-4087-B9F2-32E9015ED17D}" srcOrd="4" destOrd="0" presId="urn:microsoft.com/office/officeart/2005/8/layout/hierarchy4"/>
    <dgm:cxn modelId="{CB8DCF06-17A4-440E-A057-67D614155706}" type="presParOf" srcId="{7D884815-DC3B-4087-B9F2-32E9015ED17D}" destId="{EB42F1FD-820E-4BFC-BAB4-656AE0FEB5CD}" srcOrd="0" destOrd="0" presId="urn:microsoft.com/office/officeart/2005/8/layout/hierarchy4"/>
    <dgm:cxn modelId="{2409A5EA-7FE7-4F67-8C9C-48BC23F1FC63}" type="presParOf" srcId="{7D884815-DC3B-4087-B9F2-32E9015ED17D}" destId="{46B0DEBB-83DE-43BE-A521-085689D07CC9}" srcOrd="1" destOrd="0" presId="urn:microsoft.com/office/officeart/2005/8/layout/hierarchy4"/>
    <dgm:cxn modelId="{FC6D9423-4907-4150-86A8-FE432D9FA407}" type="presParOf" srcId="{7D884815-DC3B-4087-B9F2-32E9015ED17D}" destId="{5587B28F-A595-4E7C-A9E1-296740196E70}" srcOrd="2" destOrd="0" presId="urn:microsoft.com/office/officeart/2005/8/layout/hierarchy4"/>
    <dgm:cxn modelId="{2BF9D9FC-5CA3-4133-84BD-F66F8FD9B61E}" type="presParOf" srcId="{5587B28F-A595-4E7C-A9E1-296740196E70}" destId="{732B140A-2109-4165-8B8F-00D792D640B6}" srcOrd="0" destOrd="0" presId="urn:microsoft.com/office/officeart/2005/8/layout/hierarchy4"/>
    <dgm:cxn modelId="{E1469613-FD8E-4258-B687-92A1A86D84C8}" type="presParOf" srcId="{732B140A-2109-4165-8B8F-00D792D640B6}" destId="{5E3DCB8B-EE08-4A20-B911-F91B32B152F2}" srcOrd="0" destOrd="0" presId="urn:microsoft.com/office/officeart/2005/8/layout/hierarchy4"/>
    <dgm:cxn modelId="{08148A73-5427-4609-A42C-040CBDFEBEE0}" type="presParOf" srcId="{732B140A-2109-4165-8B8F-00D792D640B6}" destId="{1E1A68E9-38BD-4219-8D77-675BE492B394}" srcOrd="1" destOrd="0" presId="urn:microsoft.com/office/officeart/2005/8/layout/hierarchy4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12C26792-D094-49BB-82D8-32A86AEE1060}" type="doc">
      <dgm:prSet loTypeId="urn:microsoft.com/office/officeart/2008/layout/HorizontalMultiLevelHierarchy" loCatId="hierarchy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RU"/>
        </a:p>
      </dgm:t>
    </dgm:pt>
    <dgm:pt modelId="{5D186416-0584-4C4F-90A6-4056BC1A35FB}">
      <dgm:prSet phldrT="[Текст]" custT="1"/>
      <dgm:spPr/>
      <dgm:t>
        <a:bodyPr/>
        <a:lstStyle/>
        <a:p>
          <a:r>
            <a:rPr lang="ru-RU" sz="2800" dirty="0" smtClean="0"/>
            <a:t>Системно-</a:t>
          </a:r>
          <a:r>
            <a:rPr lang="ru-RU" sz="2800" dirty="0" err="1" smtClean="0"/>
            <a:t>деятельностный</a:t>
          </a:r>
          <a:r>
            <a:rPr lang="ru-RU" sz="2800" dirty="0" smtClean="0"/>
            <a:t> подход</a:t>
          </a:r>
          <a:endParaRPr lang="ru-RU" sz="2800" dirty="0"/>
        </a:p>
      </dgm:t>
    </dgm:pt>
    <dgm:pt modelId="{F9B94CD3-0EAA-45A2-8313-46F2A5386EA2}" type="parTrans" cxnId="{F8CCB346-4015-487B-8810-140E2B2AE7AD}">
      <dgm:prSet/>
      <dgm:spPr/>
      <dgm:t>
        <a:bodyPr/>
        <a:lstStyle/>
        <a:p>
          <a:endParaRPr lang="ru-RU"/>
        </a:p>
      </dgm:t>
    </dgm:pt>
    <dgm:pt modelId="{70932008-6E6D-4055-BE57-C8909FCF68B5}" type="sibTrans" cxnId="{F8CCB346-4015-487B-8810-140E2B2AE7AD}">
      <dgm:prSet/>
      <dgm:spPr/>
      <dgm:t>
        <a:bodyPr/>
        <a:lstStyle/>
        <a:p>
          <a:endParaRPr lang="ru-RU"/>
        </a:p>
      </dgm:t>
    </dgm:pt>
    <dgm:pt modelId="{F8E0C2B0-32E8-4E7C-8DC5-AE69A1596CAC}">
      <dgm:prSet phldrT="[Текст]" custT="1"/>
      <dgm:spPr/>
      <dgm:t>
        <a:bodyPr/>
        <a:lstStyle/>
        <a:p>
          <a:r>
            <a:rPr lang="ru-RU" sz="2000" dirty="0" smtClean="0"/>
            <a:t>Личностные результаты (ценности и мотивация)</a:t>
          </a:r>
          <a:endParaRPr lang="ru-RU" sz="2000" dirty="0"/>
        </a:p>
      </dgm:t>
    </dgm:pt>
    <dgm:pt modelId="{6F4F889B-CA29-42F1-9517-0176F03645F6}" type="parTrans" cxnId="{E91159F7-4219-45A3-AC29-B4A30A8F5ED6}">
      <dgm:prSet/>
      <dgm:spPr/>
      <dgm:t>
        <a:bodyPr/>
        <a:lstStyle/>
        <a:p>
          <a:endParaRPr lang="ru-RU"/>
        </a:p>
      </dgm:t>
    </dgm:pt>
    <dgm:pt modelId="{94F6A238-F633-446E-BAC7-B4751BAF6278}" type="sibTrans" cxnId="{E91159F7-4219-45A3-AC29-B4A30A8F5ED6}">
      <dgm:prSet/>
      <dgm:spPr/>
      <dgm:t>
        <a:bodyPr/>
        <a:lstStyle/>
        <a:p>
          <a:endParaRPr lang="ru-RU"/>
        </a:p>
      </dgm:t>
    </dgm:pt>
    <dgm:pt modelId="{4C21AE1F-5883-41EF-8E5A-D2C5BBA21530}">
      <dgm:prSet phldrT="[Текст]" custT="1"/>
      <dgm:spPr/>
      <dgm:t>
        <a:bodyPr/>
        <a:lstStyle/>
        <a:p>
          <a:r>
            <a:rPr lang="ru-RU" sz="2000" dirty="0" smtClean="0"/>
            <a:t>Предметные результаты</a:t>
          </a:r>
          <a:endParaRPr lang="ru-RU" sz="2000" dirty="0"/>
        </a:p>
      </dgm:t>
    </dgm:pt>
    <dgm:pt modelId="{A287368F-3EFE-4138-B47A-387DA5B55944}" type="parTrans" cxnId="{015DEBEE-8275-4F80-A47B-4B36A617268C}">
      <dgm:prSet/>
      <dgm:spPr/>
      <dgm:t>
        <a:bodyPr/>
        <a:lstStyle/>
        <a:p>
          <a:endParaRPr lang="ru-RU"/>
        </a:p>
      </dgm:t>
    </dgm:pt>
    <dgm:pt modelId="{24627C19-C2A4-4F9F-80DC-B4649CC4CF95}" type="sibTrans" cxnId="{015DEBEE-8275-4F80-A47B-4B36A617268C}">
      <dgm:prSet/>
      <dgm:spPr/>
      <dgm:t>
        <a:bodyPr/>
        <a:lstStyle/>
        <a:p>
          <a:endParaRPr lang="ru-RU"/>
        </a:p>
      </dgm:t>
    </dgm:pt>
    <dgm:pt modelId="{E46917B0-C305-48BF-A8A1-FBCF359C9FF8}">
      <dgm:prSet phldrT="[Текст]" custT="1"/>
      <dgm:spPr/>
      <dgm:t>
        <a:bodyPr/>
        <a:lstStyle/>
        <a:p>
          <a:r>
            <a:rPr lang="ru-RU" sz="2000" dirty="0" smtClean="0">
              <a:solidFill>
                <a:schemeClr val="tx1"/>
              </a:solidFill>
            </a:rPr>
            <a:t>Ориентация на формирование системы ценности и мотивов</a:t>
          </a:r>
          <a:endParaRPr lang="ru-RU" sz="2000" dirty="0">
            <a:solidFill>
              <a:schemeClr val="tx1"/>
            </a:solidFill>
          </a:endParaRPr>
        </a:p>
      </dgm:t>
    </dgm:pt>
    <dgm:pt modelId="{966AFB9F-3EC5-4249-8073-CAC0E24BAED2}" type="parTrans" cxnId="{60951151-0124-4E79-856F-8A2BD7CFB4E7}">
      <dgm:prSet/>
      <dgm:spPr/>
      <dgm:t>
        <a:bodyPr/>
        <a:lstStyle/>
        <a:p>
          <a:endParaRPr lang="ru-RU"/>
        </a:p>
      </dgm:t>
    </dgm:pt>
    <dgm:pt modelId="{37A9888B-F6D9-4848-8C35-491981CED265}" type="sibTrans" cxnId="{60951151-0124-4E79-856F-8A2BD7CFB4E7}">
      <dgm:prSet/>
      <dgm:spPr/>
      <dgm:t>
        <a:bodyPr/>
        <a:lstStyle/>
        <a:p>
          <a:endParaRPr lang="ru-RU"/>
        </a:p>
      </dgm:t>
    </dgm:pt>
    <dgm:pt modelId="{7271630C-C40D-4F7E-BF9E-051505876FDE}">
      <dgm:prSet phldrT="[Текст]" custT="1"/>
      <dgm:spPr/>
      <dgm:t>
        <a:bodyPr/>
        <a:lstStyle/>
        <a:p>
          <a:r>
            <a:rPr lang="ru-RU" sz="1600" dirty="0" smtClean="0">
              <a:solidFill>
                <a:schemeClr val="tx1"/>
              </a:solidFill>
            </a:rPr>
            <a:t>Три группы УУД: познавательные, коммуникативные и регулятивные действия</a:t>
          </a:r>
          <a:endParaRPr lang="ru-RU" sz="1600" dirty="0">
            <a:solidFill>
              <a:schemeClr val="tx1"/>
            </a:solidFill>
          </a:endParaRPr>
        </a:p>
      </dgm:t>
    </dgm:pt>
    <dgm:pt modelId="{9E948BD7-1770-4F02-AA5A-492088F4A567}" type="sibTrans" cxnId="{6B0DCC8B-2D26-4670-96F1-A137DC1E0DAA}">
      <dgm:prSet/>
      <dgm:spPr/>
      <dgm:t>
        <a:bodyPr/>
        <a:lstStyle/>
        <a:p>
          <a:endParaRPr lang="ru-RU"/>
        </a:p>
      </dgm:t>
    </dgm:pt>
    <dgm:pt modelId="{86CEC536-697A-4DA4-8132-82C30F772F6F}" type="parTrans" cxnId="{6B0DCC8B-2D26-4670-96F1-A137DC1E0DAA}">
      <dgm:prSet/>
      <dgm:spPr/>
      <dgm:t>
        <a:bodyPr/>
        <a:lstStyle/>
        <a:p>
          <a:endParaRPr lang="ru-RU"/>
        </a:p>
      </dgm:t>
    </dgm:pt>
    <dgm:pt modelId="{12C8B0F1-097C-4E10-BB2A-10526792C84E}">
      <dgm:prSet phldrT="[Текст]" custT="1"/>
      <dgm:spPr/>
      <dgm:t>
        <a:bodyPr/>
        <a:lstStyle/>
        <a:p>
          <a:r>
            <a:rPr lang="ru-RU" sz="2000" dirty="0" smtClean="0">
              <a:solidFill>
                <a:schemeClr val="tx1"/>
              </a:solidFill>
            </a:rPr>
            <a:t>Конкретизация и систематизация предметных результатов</a:t>
          </a:r>
          <a:endParaRPr lang="ru-RU" sz="2000" dirty="0">
            <a:solidFill>
              <a:schemeClr val="tx1"/>
            </a:solidFill>
          </a:endParaRPr>
        </a:p>
      </dgm:t>
    </dgm:pt>
    <dgm:pt modelId="{3D7DE736-6520-4774-90E0-B7723ECC69DD}" type="parTrans" cxnId="{F9507D15-529A-42D7-B069-EC5037D13D1B}">
      <dgm:prSet/>
      <dgm:spPr/>
      <dgm:t>
        <a:bodyPr/>
        <a:lstStyle/>
        <a:p>
          <a:endParaRPr lang="ru-RU"/>
        </a:p>
      </dgm:t>
    </dgm:pt>
    <dgm:pt modelId="{66C4B12B-9A01-46C3-883A-E604199981C5}" type="sibTrans" cxnId="{F9507D15-529A-42D7-B069-EC5037D13D1B}">
      <dgm:prSet/>
      <dgm:spPr/>
      <dgm:t>
        <a:bodyPr/>
        <a:lstStyle/>
        <a:p>
          <a:endParaRPr lang="ru-RU"/>
        </a:p>
      </dgm:t>
    </dgm:pt>
    <dgm:pt modelId="{6B5D0D77-8EEF-4C33-8131-ACA2200D151F}">
      <dgm:prSet phldrT="[Текст]" custT="1"/>
      <dgm:spPr/>
      <dgm:t>
        <a:bodyPr/>
        <a:lstStyle/>
        <a:p>
          <a:r>
            <a:rPr lang="ru-RU" sz="2000" dirty="0" err="1" smtClean="0"/>
            <a:t>Метапредметные</a:t>
          </a:r>
          <a:r>
            <a:rPr lang="ru-RU" sz="2000" dirty="0" smtClean="0"/>
            <a:t> результаты («</a:t>
          </a:r>
          <a:r>
            <a:rPr lang="en-US" sz="2000" dirty="0" smtClean="0"/>
            <a:t>soft skills</a:t>
          </a:r>
          <a:r>
            <a:rPr lang="ru-RU" sz="2000" dirty="0" smtClean="0"/>
            <a:t>»</a:t>
          </a:r>
          <a:r>
            <a:rPr lang="en-US" sz="2000" dirty="0" smtClean="0"/>
            <a:t>)</a:t>
          </a:r>
          <a:endParaRPr lang="ru-RU" sz="2000" dirty="0"/>
        </a:p>
      </dgm:t>
    </dgm:pt>
    <dgm:pt modelId="{AE42FA2B-925D-49DF-B034-12143CD87781}" type="sibTrans" cxnId="{11D925E2-DD57-418A-A999-E5C440AFF3BC}">
      <dgm:prSet/>
      <dgm:spPr/>
      <dgm:t>
        <a:bodyPr/>
        <a:lstStyle/>
        <a:p>
          <a:endParaRPr lang="ru-RU"/>
        </a:p>
      </dgm:t>
    </dgm:pt>
    <dgm:pt modelId="{FCB5F028-6058-401D-9970-E3F0C3D98E73}" type="parTrans" cxnId="{11D925E2-DD57-418A-A999-E5C440AFF3BC}">
      <dgm:prSet/>
      <dgm:spPr/>
      <dgm:t>
        <a:bodyPr/>
        <a:lstStyle/>
        <a:p>
          <a:endParaRPr lang="ru-RU"/>
        </a:p>
      </dgm:t>
    </dgm:pt>
    <dgm:pt modelId="{20323E06-5F42-4CC4-BAC7-A3493741E9CC}" type="pres">
      <dgm:prSet presAssocID="{12C26792-D094-49BB-82D8-32A86AEE1060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9548AB6F-D262-495C-B9A8-8ECD791A1F14}" type="pres">
      <dgm:prSet presAssocID="{5D186416-0584-4C4F-90A6-4056BC1A35FB}" presName="root1" presStyleCnt="0"/>
      <dgm:spPr/>
    </dgm:pt>
    <dgm:pt modelId="{103D6C4A-A45C-4A6C-9AD4-7E5B0FF4FE04}" type="pres">
      <dgm:prSet presAssocID="{5D186416-0584-4C4F-90A6-4056BC1A35FB}" presName="LevelOneTextNode" presStyleLbl="node0" presStyleIdx="0" presStyleCnt="1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A3325A29-8644-4164-90D5-8D57836CCD67}" type="pres">
      <dgm:prSet presAssocID="{5D186416-0584-4C4F-90A6-4056BC1A35FB}" presName="level2hierChild" presStyleCnt="0"/>
      <dgm:spPr/>
    </dgm:pt>
    <dgm:pt modelId="{4CC43958-EECF-4889-BBDB-E6456C1B0196}" type="pres">
      <dgm:prSet presAssocID="{6F4F889B-CA29-42F1-9517-0176F03645F6}" presName="conn2-1" presStyleLbl="parChTrans1D2" presStyleIdx="0" presStyleCnt="3"/>
      <dgm:spPr/>
      <dgm:t>
        <a:bodyPr/>
        <a:lstStyle/>
        <a:p>
          <a:endParaRPr lang="ru-RU"/>
        </a:p>
      </dgm:t>
    </dgm:pt>
    <dgm:pt modelId="{1A68596F-B344-4943-A351-2D74FB238EBC}" type="pres">
      <dgm:prSet presAssocID="{6F4F889B-CA29-42F1-9517-0176F03645F6}" presName="connTx" presStyleLbl="parChTrans1D2" presStyleIdx="0" presStyleCnt="3"/>
      <dgm:spPr/>
      <dgm:t>
        <a:bodyPr/>
        <a:lstStyle/>
        <a:p>
          <a:endParaRPr lang="ru-RU"/>
        </a:p>
      </dgm:t>
    </dgm:pt>
    <dgm:pt modelId="{5AEFF5C8-A481-4AE6-ACF9-1C8C42E3C0B4}" type="pres">
      <dgm:prSet presAssocID="{F8E0C2B0-32E8-4E7C-8DC5-AE69A1596CAC}" presName="root2" presStyleCnt="0"/>
      <dgm:spPr/>
    </dgm:pt>
    <dgm:pt modelId="{9C21E239-6D74-42A1-BA19-414610CD56CF}" type="pres">
      <dgm:prSet presAssocID="{F8E0C2B0-32E8-4E7C-8DC5-AE69A1596CAC}" presName="LevelTwoTextNode" presStyleLbl="node2" presStyleIdx="0" presStyleCnt="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A9366203-FE58-436C-BC2B-87CDB234AD0E}" type="pres">
      <dgm:prSet presAssocID="{F8E0C2B0-32E8-4E7C-8DC5-AE69A1596CAC}" presName="level3hierChild" presStyleCnt="0"/>
      <dgm:spPr/>
    </dgm:pt>
    <dgm:pt modelId="{61576CDB-1703-44EF-AEA2-05FE1F6E5EB5}" type="pres">
      <dgm:prSet presAssocID="{966AFB9F-3EC5-4249-8073-CAC0E24BAED2}" presName="conn2-1" presStyleLbl="parChTrans1D3" presStyleIdx="0" presStyleCnt="3"/>
      <dgm:spPr/>
      <dgm:t>
        <a:bodyPr/>
        <a:lstStyle/>
        <a:p>
          <a:endParaRPr lang="ru-RU"/>
        </a:p>
      </dgm:t>
    </dgm:pt>
    <dgm:pt modelId="{B28CA29C-E27C-4DF5-B5B6-8AFB40E1C5DC}" type="pres">
      <dgm:prSet presAssocID="{966AFB9F-3EC5-4249-8073-CAC0E24BAED2}" presName="connTx" presStyleLbl="parChTrans1D3" presStyleIdx="0" presStyleCnt="3"/>
      <dgm:spPr/>
      <dgm:t>
        <a:bodyPr/>
        <a:lstStyle/>
        <a:p>
          <a:endParaRPr lang="ru-RU"/>
        </a:p>
      </dgm:t>
    </dgm:pt>
    <dgm:pt modelId="{804E3C2E-1541-4C0F-A52B-FD568DCA3DC1}" type="pres">
      <dgm:prSet presAssocID="{E46917B0-C305-48BF-A8A1-FBCF359C9FF8}" presName="root2" presStyleCnt="0"/>
      <dgm:spPr/>
    </dgm:pt>
    <dgm:pt modelId="{37E050F8-0201-4EBD-A5C3-EA591C4368C7}" type="pres">
      <dgm:prSet presAssocID="{E46917B0-C305-48BF-A8A1-FBCF359C9FF8}" presName="LevelTwoTextNode" presStyleLbl="node3" presStyleIdx="0" presStyleCnt="3" custScaleX="121014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121BF696-AF14-423B-924C-84537F1A68DA}" type="pres">
      <dgm:prSet presAssocID="{E46917B0-C305-48BF-A8A1-FBCF359C9FF8}" presName="level3hierChild" presStyleCnt="0"/>
      <dgm:spPr/>
    </dgm:pt>
    <dgm:pt modelId="{B7A4592A-B00B-4BAB-B399-19D5751DEC26}" type="pres">
      <dgm:prSet presAssocID="{FCB5F028-6058-401D-9970-E3F0C3D98E73}" presName="conn2-1" presStyleLbl="parChTrans1D2" presStyleIdx="1" presStyleCnt="3"/>
      <dgm:spPr/>
      <dgm:t>
        <a:bodyPr/>
        <a:lstStyle/>
        <a:p>
          <a:endParaRPr lang="ru-RU"/>
        </a:p>
      </dgm:t>
    </dgm:pt>
    <dgm:pt modelId="{905239C6-B50E-403D-A05F-739122AF71AE}" type="pres">
      <dgm:prSet presAssocID="{FCB5F028-6058-401D-9970-E3F0C3D98E73}" presName="connTx" presStyleLbl="parChTrans1D2" presStyleIdx="1" presStyleCnt="3"/>
      <dgm:spPr/>
      <dgm:t>
        <a:bodyPr/>
        <a:lstStyle/>
        <a:p>
          <a:endParaRPr lang="ru-RU"/>
        </a:p>
      </dgm:t>
    </dgm:pt>
    <dgm:pt modelId="{FFA5A604-DE60-4C9B-A54F-785AAA326A89}" type="pres">
      <dgm:prSet presAssocID="{6B5D0D77-8EEF-4C33-8131-ACA2200D151F}" presName="root2" presStyleCnt="0"/>
      <dgm:spPr/>
    </dgm:pt>
    <dgm:pt modelId="{B32CAF0B-E71F-4EC3-BF7F-B472FCDD0D2D}" type="pres">
      <dgm:prSet presAssocID="{6B5D0D77-8EEF-4C33-8131-ACA2200D151F}" presName="LevelTwoTextNode" presStyleLbl="node2" presStyleIdx="1" presStyleCnt="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E5A3E0EA-5860-430B-9006-2C15CB9761B9}" type="pres">
      <dgm:prSet presAssocID="{6B5D0D77-8EEF-4C33-8131-ACA2200D151F}" presName="level3hierChild" presStyleCnt="0"/>
      <dgm:spPr/>
    </dgm:pt>
    <dgm:pt modelId="{7FBA6F94-18AB-4B41-9319-8894BC7E3BA3}" type="pres">
      <dgm:prSet presAssocID="{86CEC536-697A-4DA4-8132-82C30F772F6F}" presName="conn2-1" presStyleLbl="parChTrans1D3" presStyleIdx="1" presStyleCnt="3"/>
      <dgm:spPr/>
      <dgm:t>
        <a:bodyPr/>
        <a:lstStyle/>
        <a:p>
          <a:endParaRPr lang="ru-RU"/>
        </a:p>
      </dgm:t>
    </dgm:pt>
    <dgm:pt modelId="{403C4FF1-1D83-4C7A-B5ED-6604A5030B2D}" type="pres">
      <dgm:prSet presAssocID="{86CEC536-697A-4DA4-8132-82C30F772F6F}" presName="connTx" presStyleLbl="parChTrans1D3" presStyleIdx="1" presStyleCnt="3"/>
      <dgm:spPr/>
      <dgm:t>
        <a:bodyPr/>
        <a:lstStyle/>
        <a:p>
          <a:endParaRPr lang="ru-RU"/>
        </a:p>
      </dgm:t>
    </dgm:pt>
    <dgm:pt modelId="{6E332D85-083A-4E94-9BF8-75F127095400}" type="pres">
      <dgm:prSet presAssocID="{7271630C-C40D-4F7E-BF9E-051505876FDE}" presName="root2" presStyleCnt="0"/>
      <dgm:spPr/>
    </dgm:pt>
    <dgm:pt modelId="{24000C15-9C38-4519-86D7-A49DCAFFFBD4}" type="pres">
      <dgm:prSet presAssocID="{7271630C-C40D-4F7E-BF9E-051505876FDE}" presName="LevelTwoTextNode" presStyleLbl="node3" presStyleIdx="1" presStyleCnt="3" custScaleX="120637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46E7AA01-EAC6-4766-8AD3-B68C4F54664B}" type="pres">
      <dgm:prSet presAssocID="{7271630C-C40D-4F7E-BF9E-051505876FDE}" presName="level3hierChild" presStyleCnt="0"/>
      <dgm:spPr/>
    </dgm:pt>
    <dgm:pt modelId="{18D0750C-E653-45E4-8A81-B098F8CD080F}" type="pres">
      <dgm:prSet presAssocID="{A287368F-3EFE-4138-B47A-387DA5B55944}" presName="conn2-1" presStyleLbl="parChTrans1D2" presStyleIdx="2" presStyleCnt="3"/>
      <dgm:spPr/>
      <dgm:t>
        <a:bodyPr/>
        <a:lstStyle/>
        <a:p>
          <a:endParaRPr lang="ru-RU"/>
        </a:p>
      </dgm:t>
    </dgm:pt>
    <dgm:pt modelId="{BEBA380D-85C6-4F64-94E5-A6C3E2589A46}" type="pres">
      <dgm:prSet presAssocID="{A287368F-3EFE-4138-B47A-387DA5B55944}" presName="connTx" presStyleLbl="parChTrans1D2" presStyleIdx="2" presStyleCnt="3"/>
      <dgm:spPr/>
      <dgm:t>
        <a:bodyPr/>
        <a:lstStyle/>
        <a:p>
          <a:endParaRPr lang="ru-RU"/>
        </a:p>
      </dgm:t>
    </dgm:pt>
    <dgm:pt modelId="{7439BF41-C634-44C3-9FE8-5DD67DAB8C83}" type="pres">
      <dgm:prSet presAssocID="{4C21AE1F-5883-41EF-8E5A-D2C5BBA21530}" presName="root2" presStyleCnt="0"/>
      <dgm:spPr/>
    </dgm:pt>
    <dgm:pt modelId="{961A44FE-A706-421A-B2CB-86C61E69EBD4}" type="pres">
      <dgm:prSet presAssocID="{4C21AE1F-5883-41EF-8E5A-D2C5BBA21530}" presName="LevelTwoTextNode" presStyleLbl="node2" presStyleIdx="2" presStyleCnt="3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BCF1C670-2E9A-4FA0-87CA-56A70E1DB2CA}" type="pres">
      <dgm:prSet presAssocID="{4C21AE1F-5883-41EF-8E5A-D2C5BBA21530}" presName="level3hierChild" presStyleCnt="0"/>
      <dgm:spPr/>
    </dgm:pt>
    <dgm:pt modelId="{74FCDF29-7098-410E-BDB4-28BD0B96A14A}" type="pres">
      <dgm:prSet presAssocID="{3D7DE736-6520-4774-90E0-B7723ECC69DD}" presName="conn2-1" presStyleLbl="parChTrans1D3" presStyleIdx="2" presStyleCnt="3"/>
      <dgm:spPr/>
      <dgm:t>
        <a:bodyPr/>
        <a:lstStyle/>
        <a:p>
          <a:endParaRPr lang="ru-RU"/>
        </a:p>
      </dgm:t>
    </dgm:pt>
    <dgm:pt modelId="{49616835-53F1-4AD7-918C-486D5002FD51}" type="pres">
      <dgm:prSet presAssocID="{3D7DE736-6520-4774-90E0-B7723ECC69DD}" presName="connTx" presStyleLbl="parChTrans1D3" presStyleIdx="2" presStyleCnt="3"/>
      <dgm:spPr/>
      <dgm:t>
        <a:bodyPr/>
        <a:lstStyle/>
        <a:p>
          <a:endParaRPr lang="ru-RU"/>
        </a:p>
      </dgm:t>
    </dgm:pt>
    <dgm:pt modelId="{C7399DC4-2DA3-47EB-8CD2-1F29B54C5989}" type="pres">
      <dgm:prSet presAssocID="{12C8B0F1-097C-4E10-BB2A-10526792C84E}" presName="root2" presStyleCnt="0"/>
      <dgm:spPr/>
    </dgm:pt>
    <dgm:pt modelId="{1FED8B26-F542-4B94-912D-A1838D33E272}" type="pres">
      <dgm:prSet presAssocID="{12C8B0F1-097C-4E10-BB2A-10526792C84E}" presName="LevelTwoTextNode" presStyleLbl="node3" presStyleIdx="2" presStyleCnt="3" custScaleX="120692">
        <dgm:presLayoutVars>
          <dgm:chPref val="3"/>
        </dgm:presLayoutVars>
      </dgm:prSet>
      <dgm:spPr/>
      <dgm:t>
        <a:bodyPr/>
        <a:lstStyle/>
        <a:p>
          <a:endParaRPr lang="ru-RU"/>
        </a:p>
      </dgm:t>
    </dgm:pt>
    <dgm:pt modelId="{92B6BC8D-10EB-4B24-9780-2241F08E00CC}" type="pres">
      <dgm:prSet presAssocID="{12C8B0F1-097C-4E10-BB2A-10526792C84E}" presName="level3hierChild" presStyleCnt="0"/>
      <dgm:spPr/>
    </dgm:pt>
  </dgm:ptLst>
  <dgm:cxnLst>
    <dgm:cxn modelId="{814520EE-73A9-4733-94C5-73763DC72A43}" type="presOf" srcId="{E46917B0-C305-48BF-A8A1-FBCF359C9FF8}" destId="{37E050F8-0201-4EBD-A5C3-EA591C4368C7}" srcOrd="0" destOrd="0" presId="urn:microsoft.com/office/officeart/2008/layout/HorizontalMultiLevelHierarchy"/>
    <dgm:cxn modelId="{1A06E397-A307-476D-A2DF-516A313AA4C9}" type="presOf" srcId="{12C8B0F1-097C-4E10-BB2A-10526792C84E}" destId="{1FED8B26-F542-4B94-912D-A1838D33E272}" srcOrd="0" destOrd="0" presId="urn:microsoft.com/office/officeart/2008/layout/HorizontalMultiLevelHierarchy"/>
    <dgm:cxn modelId="{5A9BB184-63BE-4F80-999B-688B2627428D}" type="presOf" srcId="{6F4F889B-CA29-42F1-9517-0176F03645F6}" destId="{1A68596F-B344-4943-A351-2D74FB238EBC}" srcOrd="1" destOrd="0" presId="urn:microsoft.com/office/officeart/2008/layout/HorizontalMultiLevelHierarchy"/>
    <dgm:cxn modelId="{D63B2403-4532-4CE4-A7C9-7DDF7543AFE0}" type="presOf" srcId="{FCB5F028-6058-401D-9970-E3F0C3D98E73}" destId="{905239C6-B50E-403D-A05F-739122AF71AE}" srcOrd="1" destOrd="0" presId="urn:microsoft.com/office/officeart/2008/layout/HorizontalMultiLevelHierarchy"/>
    <dgm:cxn modelId="{60951151-0124-4E79-856F-8A2BD7CFB4E7}" srcId="{F8E0C2B0-32E8-4E7C-8DC5-AE69A1596CAC}" destId="{E46917B0-C305-48BF-A8A1-FBCF359C9FF8}" srcOrd="0" destOrd="0" parTransId="{966AFB9F-3EC5-4249-8073-CAC0E24BAED2}" sibTransId="{37A9888B-F6D9-4848-8C35-491981CED265}"/>
    <dgm:cxn modelId="{85EBA8CD-9376-4885-A448-8B29F1504D8D}" type="presOf" srcId="{F8E0C2B0-32E8-4E7C-8DC5-AE69A1596CAC}" destId="{9C21E239-6D74-42A1-BA19-414610CD56CF}" srcOrd="0" destOrd="0" presId="urn:microsoft.com/office/officeart/2008/layout/HorizontalMultiLevelHierarchy"/>
    <dgm:cxn modelId="{97B34145-99B2-4DBD-B2A8-DAA9E96286CA}" type="presOf" srcId="{966AFB9F-3EC5-4249-8073-CAC0E24BAED2}" destId="{61576CDB-1703-44EF-AEA2-05FE1F6E5EB5}" srcOrd="0" destOrd="0" presId="urn:microsoft.com/office/officeart/2008/layout/HorizontalMultiLevelHierarchy"/>
    <dgm:cxn modelId="{2192AE80-C27B-465A-AC9D-5315BA96DC57}" type="presOf" srcId="{6B5D0D77-8EEF-4C33-8131-ACA2200D151F}" destId="{B32CAF0B-E71F-4EC3-BF7F-B472FCDD0D2D}" srcOrd="0" destOrd="0" presId="urn:microsoft.com/office/officeart/2008/layout/HorizontalMultiLevelHierarchy"/>
    <dgm:cxn modelId="{DF642EDA-D4F7-4D0E-BCAA-E49B4F1F660E}" type="presOf" srcId="{3D7DE736-6520-4774-90E0-B7723ECC69DD}" destId="{49616835-53F1-4AD7-918C-486D5002FD51}" srcOrd="1" destOrd="0" presId="urn:microsoft.com/office/officeart/2008/layout/HorizontalMultiLevelHierarchy"/>
    <dgm:cxn modelId="{19CAAD2F-575B-4869-A4CC-B53B074331C2}" type="presOf" srcId="{6F4F889B-CA29-42F1-9517-0176F03645F6}" destId="{4CC43958-EECF-4889-BBDB-E6456C1B0196}" srcOrd="0" destOrd="0" presId="urn:microsoft.com/office/officeart/2008/layout/HorizontalMultiLevelHierarchy"/>
    <dgm:cxn modelId="{015DEBEE-8275-4F80-A47B-4B36A617268C}" srcId="{5D186416-0584-4C4F-90A6-4056BC1A35FB}" destId="{4C21AE1F-5883-41EF-8E5A-D2C5BBA21530}" srcOrd="2" destOrd="0" parTransId="{A287368F-3EFE-4138-B47A-387DA5B55944}" sibTransId="{24627C19-C2A4-4F9F-80DC-B4649CC4CF95}"/>
    <dgm:cxn modelId="{5B3ED25B-F774-4BF8-9531-625797594D87}" type="presOf" srcId="{7271630C-C40D-4F7E-BF9E-051505876FDE}" destId="{24000C15-9C38-4519-86D7-A49DCAFFFBD4}" srcOrd="0" destOrd="0" presId="urn:microsoft.com/office/officeart/2008/layout/HorizontalMultiLevelHierarchy"/>
    <dgm:cxn modelId="{E91159F7-4219-45A3-AC29-B4A30A8F5ED6}" srcId="{5D186416-0584-4C4F-90A6-4056BC1A35FB}" destId="{F8E0C2B0-32E8-4E7C-8DC5-AE69A1596CAC}" srcOrd="0" destOrd="0" parTransId="{6F4F889B-CA29-42F1-9517-0176F03645F6}" sibTransId="{94F6A238-F633-446E-BAC7-B4751BAF6278}"/>
    <dgm:cxn modelId="{6B0DCC8B-2D26-4670-96F1-A137DC1E0DAA}" srcId="{6B5D0D77-8EEF-4C33-8131-ACA2200D151F}" destId="{7271630C-C40D-4F7E-BF9E-051505876FDE}" srcOrd="0" destOrd="0" parTransId="{86CEC536-697A-4DA4-8132-82C30F772F6F}" sibTransId="{9E948BD7-1770-4F02-AA5A-492088F4A567}"/>
    <dgm:cxn modelId="{AF2C4C35-3994-4F71-AB2A-40123BF4C77F}" type="presOf" srcId="{966AFB9F-3EC5-4249-8073-CAC0E24BAED2}" destId="{B28CA29C-E27C-4DF5-B5B6-8AFB40E1C5DC}" srcOrd="1" destOrd="0" presId="urn:microsoft.com/office/officeart/2008/layout/HorizontalMultiLevelHierarchy"/>
    <dgm:cxn modelId="{F8CCB346-4015-487B-8810-140E2B2AE7AD}" srcId="{12C26792-D094-49BB-82D8-32A86AEE1060}" destId="{5D186416-0584-4C4F-90A6-4056BC1A35FB}" srcOrd="0" destOrd="0" parTransId="{F9B94CD3-0EAA-45A2-8313-46F2A5386EA2}" sibTransId="{70932008-6E6D-4055-BE57-C8909FCF68B5}"/>
    <dgm:cxn modelId="{AE7676D9-90F9-402F-BD93-E33CB71F4B3D}" type="presOf" srcId="{FCB5F028-6058-401D-9970-E3F0C3D98E73}" destId="{B7A4592A-B00B-4BAB-B399-19D5751DEC26}" srcOrd="0" destOrd="0" presId="urn:microsoft.com/office/officeart/2008/layout/HorizontalMultiLevelHierarchy"/>
    <dgm:cxn modelId="{11D925E2-DD57-418A-A999-E5C440AFF3BC}" srcId="{5D186416-0584-4C4F-90A6-4056BC1A35FB}" destId="{6B5D0D77-8EEF-4C33-8131-ACA2200D151F}" srcOrd="1" destOrd="0" parTransId="{FCB5F028-6058-401D-9970-E3F0C3D98E73}" sibTransId="{AE42FA2B-925D-49DF-B034-12143CD87781}"/>
    <dgm:cxn modelId="{4EAC3C5F-8073-4C94-86B4-083485BB3996}" type="presOf" srcId="{86CEC536-697A-4DA4-8132-82C30F772F6F}" destId="{7FBA6F94-18AB-4B41-9319-8894BC7E3BA3}" srcOrd="0" destOrd="0" presId="urn:microsoft.com/office/officeart/2008/layout/HorizontalMultiLevelHierarchy"/>
    <dgm:cxn modelId="{AFF1A9E3-3025-4F13-8A2F-E14E5A16CA2E}" type="presOf" srcId="{86CEC536-697A-4DA4-8132-82C30F772F6F}" destId="{403C4FF1-1D83-4C7A-B5ED-6604A5030B2D}" srcOrd="1" destOrd="0" presId="urn:microsoft.com/office/officeart/2008/layout/HorizontalMultiLevelHierarchy"/>
    <dgm:cxn modelId="{76BD888D-DFE6-4B71-B1B3-3AADCEBB5A98}" type="presOf" srcId="{5D186416-0584-4C4F-90A6-4056BC1A35FB}" destId="{103D6C4A-A45C-4A6C-9AD4-7E5B0FF4FE04}" srcOrd="0" destOrd="0" presId="urn:microsoft.com/office/officeart/2008/layout/HorizontalMultiLevelHierarchy"/>
    <dgm:cxn modelId="{0948F855-0AD5-4278-A62B-CD196EFDDEC9}" type="presOf" srcId="{A287368F-3EFE-4138-B47A-387DA5B55944}" destId="{BEBA380D-85C6-4F64-94E5-A6C3E2589A46}" srcOrd="1" destOrd="0" presId="urn:microsoft.com/office/officeart/2008/layout/HorizontalMultiLevelHierarchy"/>
    <dgm:cxn modelId="{F9507D15-529A-42D7-B069-EC5037D13D1B}" srcId="{4C21AE1F-5883-41EF-8E5A-D2C5BBA21530}" destId="{12C8B0F1-097C-4E10-BB2A-10526792C84E}" srcOrd="0" destOrd="0" parTransId="{3D7DE736-6520-4774-90E0-B7723ECC69DD}" sibTransId="{66C4B12B-9A01-46C3-883A-E604199981C5}"/>
    <dgm:cxn modelId="{CE3CDC38-D456-480B-B43A-7B1AB0CA2E35}" type="presOf" srcId="{3D7DE736-6520-4774-90E0-B7723ECC69DD}" destId="{74FCDF29-7098-410E-BDB4-28BD0B96A14A}" srcOrd="0" destOrd="0" presId="urn:microsoft.com/office/officeart/2008/layout/HorizontalMultiLevelHierarchy"/>
    <dgm:cxn modelId="{06BCDA01-CBF1-4081-823E-A7B7BE9305A2}" type="presOf" srcId="{A287368F-3EFE-4138-B47A-387DA5B55944}" destId="{18D0750C-E653-45E4-8A81-B098F8CD080F}" srcOrd="0" destOrd="0" presId="urn:microsoft.com/office/officeart/2008/layout/HorizontalMultiLevelHierarchy"/>
    <dgm:cxn modelId="{587E026A-4477-4828-9309-5262FA787031}" type="presOf" srcId="{12C26792-D094-49BB-82D8-32A86AEE1060}" destId="{20323E06-5F42-4CC4-BAC7-A3493741E9CC}" srcOrd="0" destOrd="0" presId="urn:microsoft.com/office/officeart/2008/layout/HorizontalMultiLevelHierarchy"/>
    <dgm:cxn modelId="{0B4A7663-74D0-4203-BD2A-53824984825E}" type="presOf" srcId="{4C21AE1F-5883-41EF-8E5A-D2C5BBA21530}" destId="{961A44FE-A706-421A-B2CB-86C61E69EBD4}" srcOrd="0" destOrd="0" presId="urn:microsoft.com/office/officeart/2008/layout/HorizontalMultiLevelHierarchy"/>
    <dgm:cxn modelId="{A2A3710F-0C36-4B17-9A5B-C3D9D0BB922A}" type="presParOf" srcId="{20323E06-5F42-4CC4-BAC7-A3493741E9CC}" destId="{9548AB6F-D262-495C-B9A8-8ECD791A1F14}" srcOrd="0" destOrd="0" presId="urn:microsoft.com/office/officeart/2008/layout/HorizontalMultiLevelHierarchy"/>
    <dgm:cxn modelId="{45174012-8419-4492-8A49-3406405F2E38}" type="presParOf" srcId="{9548AB6F-D262-495C-B9A8-8ECD791A1F14}" destId="{103D6C4A-A45C-4A6C-9AD4-7E5B0FF4FE04}" srcOrd="0" destOrd="0" presId="urn:microsoft.com/office/officeart/2008/layout/HorizontalMultiLevelHierarchy"/>
    <dgm:cxn modelId="{3C13FC48-CCC5-442E-A608-945C5CA0A3E9}" type="presParOf" srcId="{9548AB6F-D262-495C-B9A8-8ECD791A1F14}" destId="{A3325A29-8644-4164-90D5-8D57836CCD67}" srcOrd="1" destOrd="0" presId="urn:microsoft.com/office/officeart/2008/layout/HorizontalMultiLevelHierarchy"/>
    <dgm:cxn modelId="{1ED67415-367D-47D2-8821-C5D829BE9210}" type="presParOf" srcId="{A3325A29-8644-4164-90D5-8D57836CCD67}" destId="{4CC43958-EECF-4889-BBDB-E6456C1B0196}" srcOrd="0" destOrd="0" presId="urn:microsoft.com/office/officeart/2008/layout/HorizontalMultiLevelHierarchy"/>
    <dgm:cxn modelId="{FF508586-BA66-43A8-BA0D-FC435D8DBEE2}" type="presParOf" srcId="{4CC43958-EECF-4889-BBDB-E6456C1B0196}" destId="{1A68596F-B344-4943-A351-2D74FB238EBC}" srcOrd="0" destOrd="0" presId="urn:microsoft.com/office/officeart/2008/layout/HorizontalMultiLevelHierarchy"/>
    <dgm:cxn modelId="{61F4D788-87E1-4082-8557-CE0DB1B68A38}" type="presParOf" srcId="{A3325A29-8644-4164-90D5-8D57836CCD67}" destId="{5AEFF5C8-A481-4AE6-ACF9-1C8C42E3C0B4}" srcOrd="1" destOrd="0" presId="urn:microsoft.com/office/officeart/2008/layout/HorizontalMultiLevelHierarchy"/>
    <dgm:cxn modelId="{1475DC69-353C-4D4A-BCEE-CF258FA2F0D5}" type="presParOf" srcId="{5AEFF5C8-A481-4AE6-ACF9-1C8C42E3C0B4}" destId="{9C21E239-6D74-42A1-BA19-414610CD56CF}" srcOrd="0" destOrd="0" presId="urn:microsoft.com/office/officeart/2008/layout/HorizontalMultiLevelHierarchy"/>
    <dgm:cxn modelId="{DB75970F-0914-497B-B684-C8D9391FB75D}" type="presParOf" srcId="{5AEFF5C8-A481-4AE6-ACF9-1C8C42E3C0B4}" destId="{A9366203-FE58-436C-BC2B-87CDB234AD0E}" srcOrd="1" destOrd="0" presId="urn:microsoft.com/office/officeart/2008/layout/HorizontalMultiLevelHierarchy"/>
    <dgm:cxn modelId="{5958557A-CDA4-4A40-8AA5-35F3C4D18756}" type="presParOf" srcId="{A9366203-FE58-436C-BC2B-87CDB234AD0E}" destId="{61576CDB-1703-44EF-AEA2-05FE1F6E5EB5}" srcOrd="0" destOrd="0" presId="urn:microsoft.com/office/officeart/2008/layout/HorizontalMultiLevelHierarchy"/>
    <dgm:cxn modelId="{CD9BC627-BE3F-4CD5-B28C-5D50F132FB8F}" type="presParOf" srcId="{61576CDB-1703-44EF-AEA2-05FE1F6E5EB5}" destId="{B28CA29C-E27C-4DF5-B5B6-8AFB40E1C5DC}" srcOrd="0" destOrd="0" presId="urn:microsoft.com/office/officeart/2008/layout/HorizontalMultiLevelHierarchy"/>
    <dgm:cxn modelId="{C05E9D1E-61F9-481C-B016-E7D123488DD1}" type="presParOf" srcId="{A9366203-FE58-436C-BC2B-87CDB234AD0E}" destId="{804E3C2E-1541-4C0F-A52B-FD568DCA3DC1}" srcOrd="1" destOrd="0" presId="urn:microsoft.com/office/officeart/2008/layout/HorizontalMultiLevelHierarchy"/>
    <dgm:cxn modelId="{7DCDABF4-2D82-4FF2-A752-AAC804D37F99}" type="presParOf" srcId="{804E3C2E-1541-4C0F-A52B-FD568DCA3DC1}" destId="{37E050F8-0201-4EBD-A5C3-EA591C4368C7}" srcOrd="0" destOrd="0" presId="urn:microsoft.com/office/officeart/2008/layout/HorizontalMultiLevelHierarchy"/>
    <dgm:cxn modelId="{6BB9F2DD-48FD-4612-954D-D737156A021C}" type="presParOf" srcId="{804E3C2E-1541-4C0F-A52B-FD568DCA3DC1}" destId="{121BF696-AF14-423B-924C-84537F1A68DA}" srcOrd="1" destOrd="0" presId="urn:microsoft.com/office/officeart/2008/layout/HorizontalMultiLevelHierarchy"/>
    <dgm:cxn modelId="{F01FF431-BD81-47F3-BF32-95A743A817BC}" type="presParOf" srcId="{A3325A29-8644-4164-90D5-8D57836CCD67}" destId="{B7A4592A-B00B-4BAB-B399-19D5751DEC26}" srcOrd="2" destOrd="0" presId="urn:microsoft.com/office/officeart/2008/layout/HorizontalMultiLevelHierarchy"/>
    <dgm:cxn modelId="{888794B8-55F7-48D5-9525-EB438F3DB152}" type="presParOf" srcId="{B7A4592A-B00B-4BAB-B399-19D5751DEC26}" destId="{905239C6-B50E-403D-A05F-739122AF71AE}" srcOrd="0" destOrd="0" presId="urn:microsoft.com/office/officeart/2008/layout/HorizontalMultiLevelHierarchy"/>
    <dgm:cxn modelId="{B06DA43A-E18F-4D67-9956-F7B0A3EAF963}" type="presParOf" srcId="{A3325A29-8644-4164-90D5-8D57836CCD67}" destId="{FFA5A604-DE60-4C9B-A54F-785AAA326A89}" srcOrd="3" destOrd="0" presId="urn:microsoft.com/office/officeart/2008/layout/HorizontalMultiLevelHierarchy"/>
    <dgm:cxn modelId="{4E64C79D-617A-4F58-8FF4-3F5388D38F80}" type="presParOf" srcId="{FFA5A604-DE60-4C9B-A54F-785AAA326A89}" destId="{B32CAF0B-E71F-4EC3-BF7F-B472FCDD0D2D}" srcOrd="0" destOrd="0" presId="urn:microsoft.com/office/officeart/2008/layout/HorizontalMultiLevelHierarchy"/>
    <dgm:cxn modelId="{9F9BE0F0-5A56-4974-9AC8-C484045029DF}" type="presParOf" srcId="{FFA5A604-DE60-4C9B-A54F-785AAA326A89}" destId="{E5A3E0EA-5860-430B-9006-2C15CB9761B9}" srcOrd="1" destOrd="0" presId="urn:microsoft.com/office/officeart/2008/layout/HorizontalMultiLevelHierarchy"/>
    <dgm:cxn modelId="{BA205FBA-4F20-4AD0-B419-AFC7262C61BB}" type="presParOf" srcId="{E5A3E0EA-5860-430B-9006-2C15CB9761B9}" destId="{7FBA6F94-18AB-4B41-9319-8894BC7E3BA3}" srcOrd="0" destOrd="0" presId="urn:microsoft.com/office/officeart/2008/layout/HorizontalMultiLevelHierarchy"/>
    <dgm:cxn modelId="{AF4A17C4-8173-4D4E-92DA-4E058FFA63F1}" type="presParOf" srcId="{7FBA6F94-18AB-4B41-9319-8894BC7E3BA3}" destId="{403C4FF1-1D83-4C7A-B5ED-6604A5030B2D}" srcOrd="0" destOrd="0" presId="urn:microsoft.com/office/officeart/2008/layout/HorizontalMultiLevelHierarchy"/>
    <dgm:cxn modelId="{18B4D941-5A85-4B00-BEE2-15F3E286DE91}" type="presParOf" srcId="{E5A3E0EA-5860-430B-9006-2C15CB9761B9}" destId="{6E332D85-083A-4E94-9BF8-75F127095400}" srcOrd="1" destOrd="0" presId="urn:microsoft.com/office/officeart/2008/layout/HorizontalMultiLevelHierarchy"/>
    <dgm:cxn modelId="{021B5E96-82D1-44FE-9EB6-A0BDE5F49803}" type="presParOf" srcId="{6E332D85-083A-4E94-9BF8-75F127095400}" destId="{24000C15-9C38-4519-86D7-A49DCAFFFBD4}" srcOrd="0" destOrd="0" presId="urn:microsoft.com/office/officeart/2008/layout/HorizontalMultiLevelHierarchy"/>
    <dgm:cxn modelId="{B2D855C1-8555-4316-97B1-09D416496031}" type="presParOf" srcId="{6E332D85-083A-4E94-9BF8-75F127095400}" destId="{46E7AA01-EAC6-4766-8AD3-B68C4F54664B}" srcOrd="1" destOrd="0" presId="urn:microsoft.com/office/officeart/2008/layout/HorizontalMultiLevelHierarchy"/>
    <dgm:cxn modelId="{CF883779-71CC-4AFA-9A76-4723E6DD5CB5}" type="presParOf" srcId="{A3325A29-8644-4164-90D5-8D57836CCD67}" destId="{18D0750C-E653-45E4-8A81-B098F8CD080F}" srcOrd="4" destOrd="0" presId="urn:microsoft.com/office/officeart/2008/layout/HorizontalMultiLevelHierarchy"/>
    <dgm:cxn modelId="{456ECB02-7C37-44E3-B2EB-1C89A12D84D6}" type="presParOf" srcId="{18D0750C-E653-45E4-8A81-B098F8CD080F}" destId="{BEBA380D-85C6-4F64-94E5-A6C3E2589A46}" srcOrd="0" destOrd="0" presId="urn:microsoft.com/office/officeart/2008/layout/HorizontalMultiLevelHierarchy"/>
    <dgm:cxn modelId="{0F2B2044-D4A4-4AB4-981C-1C0CA3FC498B}" type="presParOf" srcId="{A3325A29-8644-4164-90D5-8D57836CCD67}" destId="{7439BF41-C634-44C3-9FE8-5DD67DAB8C83}" srcOrd="5" destOrd="0" presId="urn:microsoft.com/office/officeart/2008/layout/HorizontalMultiLevelHierarchy"/>
    <dgm:cxn modelId="{0117E77F-BCA7-4911-A251-6673E37214CE}" type="presParOf" srcId="{7439BF41-C634-44C3-9FE8-5DD67DAB8C83}" destId="{961A44FE-A706-421A-B2CB-86C61E69EBD4}" srcOrd="0" destOrd="0" presId="urn:microsoft.com/office/officeart/2008/layout/HorizontalMultiLevelHierarchy"/>
    <dgm:cxn modelId="{8D1ECD44-AE75-4A73-876E-FF98730DEE95}" type="presParOf" srcId="{7439BF41-C634-44C3-9FE8-5DD67DAB8C83}" destId="{BCF1C670-2E9A-4FA0-87CA-56A70E1DB2CA}" srcOrd="1" destOrd="0" presId="urn:microsoft.com/office/officeart/2008/layout/HorizontalMultiLevelHierarchy"/>
    <dgm:cxn modelId="{4A3AE3C6-E0FF-465F-8D2B-87A658641E63}" type="presParOf" srcId="{BCF1C670-2E9A-4FA0-87CA-56A70E1DB2CA}" destId="{74FCDF29-7098-410E-BDB4-28BD0B96A14A}" srcOrd="0" destOrd="0" presId="urn:microsoft.com/office/officeart/2008/layout/HorizontalMultiLevelHierarchy"/>
    <dgm:cxn modelId="{BE2A73D6-DE39-4F18-89AB-DCCC06D74DB6}" type="presParOf" srcId="{74FCDF29-7098-410E-BDB4-28BD0B96A14A}" destId="{49616835-53F1-4AD7-918C-486D5002FD51}" srcOrd="0" destOrd="0" presId="urn:microsoft.com/office/officeart/2008/layout/HorizontalMultiLevelHierarchy"/>
    <dgm:cxn modelId="{3EF0D571-F4A9-4E4C-AF05-9094ACE4FE21}" type="presParOf" srcId="{BCF1C670-2E9A-4FA0-87CA-56A70E1DB2CA}" destId="{C7399DC4-2DA3-47EB-8CD2-1F29B54C5989}" srcOrd="1" destOrd="0" presId="urn:microsoft.com/office/officeart/2008/layout/HorizontalMultiLevelHierarchy"/>
    <dgm:cxn modelId="{D77C6B98-8854-4A25-A43B-43E4149E829A}" type="presParOf" srcId="{C7399DC4-2DA3-47EB-8CD2-1F29B54C5989}" destId="{1FED8B26-F542-4B94-912D-A1838D33E272}" srcOrd="0" destOrd="0" presId="urn:microsoft.com/office/officeart/2008/layout/HorizontalMultiLevelHierarchy"/>
    <dgm:cxn modelId="{37736E3E-142C-4905-AB7B-DC128719D492}" type="presParOf" srcId="{C7399DC4-2DA3-47EB-8CD2-1F29B54C5989}" destId="{92B6BC8D-10EB-4B24-9780-2241F08E00CC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83FC350-53F5-4B44-AA03-0368328506A2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7989A24-44B0-4037-88C3-13F5705C6EC6}">
      <dgm:prSet phldrT="[Текст]"/>
      <dgm:spPr/>
      <dgm:t>
        <a:bodyPr/>
        <a:lstStyle/>
        <a:p>
          <a:pPr algn="l"/>
          <a:r>
            <a:rPr lang="ru-RU" dirty="0" smtClean="0"/>
            <a:t>1. Переход к передовым цифровым, интеллектуальным производственным технологиям, роботизированным системами…</a:t>
          </a:r>
          <a:endParaRPr lang="ru-RU" dirty="0"/>
        </a:p>
      </dgm:t>
    </dgm:pt>
    <dgm:pt modelId="{BB523258-09BC-4180-9773-366CDF7677AB}" type="parTrans" cxnId="{22811082-4514-4399-A372-1F23D8657D94}">
      <dgm:prSet/>
      <dgm:spPr/>
      <dgm:t>
        <a:bodyPr/>
        <a:lstStyle/>
        <a:p>
          <a:endParaRPr lang="ru-RU"/>
        </a:p>
      </dgm:t>
    </dgm:pt>
    <dgm:pt modelId="{AA6F83FF-CC68-4333-B7A6-3516B581B344}" type="sibTrans" cxnId="{22811082-4514-4399-A372-1F23D8657D94}">
      <dgm:prSet/>
      <dgm:spPr/>
      <dgm:t>
        <a:bodyPr/>
        <a:lstStyle/>
        <a:p>
          <a:endParaRPr lang="ru-RU"/>
        </a:p>
      </dgm:t>
    </dgm:pt>
    <dgm:pt modelId="{0A561E03-3A78-49D4-A495-BAC67791878D}">
      <dgm:prSet phldrT="[Текст]"/>
      <dgm:spPr/>
      <dgm:t>
        <a:bodyPr/>
        <a:lstStyle/>
        <a:p>
          <a:r>
            <a:rPr lang="ru-RU" dirty="0" smtClean="0"/>
            <a:t>Общий (целевой) раздел проекта ФГОС</a:t>
          </a:r>
          <a:endParaRPr lang="ru-RU" dirty="0"/>
        </a:p>
      </dgm:t>
    </dgm:pt>
    <dgm:pt modelId="{2814735A-F226-431B-B729-4D066AF8E63A}" type="parTrans" cxnId="{4F6B30D9-89D4-4642-AF50-192A5B8A9EA6}">
      <dgm:prSet/>
      <dgm:spPr/>
      <dgm:t>
        <a:bodyPr/>
        <a:lstStyle/>
        <a:p>
          <a:endParaRPr lang="ru-RU"/>
        </a:p>
      </dgm:t>
    </dgm:pt>
    <dgm:pt modelId="{C81956CC-BC12-43AE-A54B-C42431554D2E}" type="sibTrans" cxnId="{4F6B30D9-89D4-4642-AF50-192A5B8A9EA6}">
      <dgm:prSet/>
      <dgm:spPr/>
      <dgm:t>
        <a:bodyPr/>
        <a:lstStyle/>
        <a:p>
          <a:endParaRPr lang="ru-RU"/>
        </a:p>
      </dgm:t>
    </dgm:pt>
    <dgm:pt modelId="{C105ED8F-D9A0-4FF9-AE18-3AE7766B4FF2}">
      <dgm:prSet phldrT="[Текст]"/>
      <dgm:spPr/>
      <dgm:t>
        <a:bodyPr/>
        <a:lstStyle/>
        <a:p>
          <a:r>
            <a:rPr lang="ru-RU" dirty="0" smtClean="0"/>
            <a:t>Ориентированы результаты по предмету: «Информатика», «Физика», «Биология», «Литература», «Технология».</a:t>
          </a:r>
          <a:endParaRPr lang="ru-RU" dirty="0"/>
        </a:p>
      </dgm:t>
    </dgm:pt>
    <dgm:pt modelId="{8618430B-91D1-4E1D-9072-579EA658820C}" type="parTrans" cxnId="{2821F76E-E01A-4DA3-A915-2062999B4524}">
      <dgm:prSet/>
      <dgm:spPr/>
      <dgm:t>
        <a:bodyPr/>
        <a:lstStyle/>
        <a:p>
          <a:endParaRPr lang="ru-RU"/>
        </a:p>
      </dgm:t>
    </dgm:pt>
    <dgm:pt modelId="{EDF1F78F-916C-4619-8F53-B02B20673EB3}" type="sibTrans" cxnId="{2821F76E-E01A-4DA3-A915-2062999B4524}">
      <dgm:prSet/>
      <dgm:spPr/>
      <dgm:t>
        <a:bodyPr/>
        <a:lstStyle/>
        <a:p>
          <a:endParaRPr lang="ru-RU"/>
        </a:p>
      </dgm:t>
    </dgm:pt>
    <dgm:pt modelId="{B6F70B09-DDCB-47BE-9CFB-78E324E7CA08}">
      <dgm:prSet phldrT="[Текст]"/>
      <dgm:spPr/>
      <dgm:t>
        <a:bodyPr/>
        <a:lstStyle/>
        <a:p>
          <a:pPr algn="l"/>
          <a:r>
            <a:rPr lang="ru-RU" dirty="0" smtClean="0"/>
            <a:t>2. Переход к экологически чистой и ресурсосберегающей энергетике…</a:t>
          </a:r>
          <a:endParaRPr lang="ru-RU" dirty="0"/>
        </a:p>
      </dgm:t>
    </dgm:pt>
    <dgm:pt modelId="{B43CFE7A-DC07-49BE-92E0-1E1C0B2F9D49}" type="parTrans" cxnId="{9335E48E-28A9-4506-B04F-869F60588AE3}">
      <dgm:prSet/>
      <dgm:spPr/>
      <dgm:t>
        <a:bodyPr/>
        <a:lstStyle/>
        <a:p>
          <a:endParaRPr lang="ru-RU"/>
        </a:p>
      </dgm:t>
    </dgm:pt>
    <dgm:pt modelId="{413F56D7-219F-4E97-BD09-615C7BAFA3FE}" type="sibTrans" cxnId="{9335E48E-28A9-4506-B04F-869F60588AE3}">
      <dgm:prSet/>
      <dgm:spPr/>
      <dgm:t>
        <a:bodyPr/>
        <a:lstStyle/>
        <a:p>
          <a:endParaRPr lang="ru-RU"/>
        </a:p>
      </dgm:t>
    </dgm:pt>
    <dgm:pt modelId="{60E52A4F-D446-4774-98FF-149D96B0D975}">
      <dgm:prSet/>
      <dgm:spPr/>
      <dgm:t>
        <a:bodyPr/>
        <a:lstStyle/>
        <a:p>
          <a:r>
            <a:rPr lang="ru-RU" dirty="0" smtClean="0"/>
            <a:t>Личностные результаты реализации ОП</a:t>
          </a:r>
          <a:endParaRPr lang="ru-RU" dirty="0"/>
        </a:p>
      </dgm:t>
    </dgm:pt>
    <dgm:pt modelId="{E07D55FB-F468-4068-9C84-8E44D637D6AF}" type="parTrans" cxnId="{82AF7B8F-75D2-44C2-9741-7E1EA05EBBC3}">
      <dgm:prSet/>
      <dgm:spPr/>
      <dgm:t>
        <a:bodyPr/>
        <a:lstStyle/>
        <a:p>
          <a:endParaRPr lang="ru-RU"/>
        </a:p>
      </dgm:t>
    </dgm:pt>
    <dgm:pt modelId="{36588F86-C04E-4190-B291-4280EC9538A8}" type="sibTrans" cxnId="{82AF7B8F-75D2-44C2-9741-7E1EA05EBBC3}">
      <dgm:prSet/>
      <dgm:spPr/>
      <dgm:t>
        <a:bodyPr/>
        <a:lstStyle/>
        <a:p>
          <a:endParaRPr lang="ru-RU"/>
        </a:p>
      </dgm:t>
    </dgm:pt>
    <dgm:pt modelId="{E9E33B02-0293-4AB2-8C52-C666F1F777D2}">
      <dgm:prSet/>
      <dgm:spPr/>
      <dgm:t>
        <a:bodyPr/>
        <a:lstStyle/>
        <a:p>
          <a:r>
            <a:rPr lang="ru-RU" dirty="0" smtClean="0"/>
            <a:t>Ориентированы результаты по предмету «Географии», «Химии»,, «Технологии»</a:t>
          </a:r>
          <a:endParaRPr lang="ru-RU" dirty="0"/>
        </a:p>
      </dgm:t>
    </dgm:pt>
    <dgm:pt modelId="{CAC9313A-BE54-4690-AE2A-0B4713162138}" type="parTrans" cxnId="{79D71951-D289-4738-AF04-FBD42482B9E8}">
      <dgm:prSet/>
      <dgm:spPr/>
      <dgm:t>
        <a:bodyPr/>
        <a:lstStyle/>
        <a:p>
          <a:endParaRPr lang="ru-RU"/>
        </a:p>
      </dgm:t>
    </dgm:pt>
    <dgm:pt modelId="{ACEA60D0-FCF0-4995-AB88-6C554CAD98D9}" type="sibTrans" cxnId="{79D71951-D289-4738-AF04-FBD42482B9E8}">
      <dgm:prSet/>
      <dgm:spPr/>
      <dgm:t>
        <a:bodyPr/>
        <a:lstStyle/>
        <a:p>
          <a:endParaRPr lang="ru-RU"/>
        </a:p>
      </dgm:t>
    </dgm:pt>
    <dgm:pt modelId="{DA71C964-1B36-4CFE-8606-2006D8702A9B}" type="pres">
      <dgm:prSet presAssocID="{E83FC350-53F5-4B44-AA03-0368328506A2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34C0E468-7A6C-4372-BEFF-9D2A6D91583A}" type="pres">
      <dgm:prSet presAssocID="{E7989A24-44B0-4037-88C3-13F5705C6EC6}" presName="linNode" presStyleCnt="0"/>
      <dgm:spPr/>
    </dgm:pt>
    <dgm:pt modelId="{90EB684D-21E2-4A59-84FF-852FB4143A30}" type="pres">
      <dgm:prSet presAssocID="{E7989A24-44B0-4037-88C3-13F5705C6EC6}" presName="parentShp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2EBB5D-45F4-4CA7-8220-A88316A5236F}" type="pres">
      <dgm:prSet presAssocID="{E7989A24-44B0-4037-88C3-13F5705C6EC6}" presName="childShp" presStyleLbl="bg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B56BF20-E7DA-4FBF-B4EB-F23A6AD11EC5}" type="pres">
      <dgm:prSet presAssocID="{AA6F83FF-CC68-4333-B7A6-3516B581B344}" presName="spacing" presStyleCnt="0"/>
      <dgm:spPr/>
    </dgm:pt>
    <dgm:pt modelId="{A7010A8F-5305-43F2-B662-6AAC8DE84A8F}" type="pres">
      <dgm:prSet presAssocID="{B6F70B09-DDCB-47BE-9CFB-78E324E7CA08}" presName="linNode" presStyleCnt="0"/>
      <dgm:spPr/>
    </dgm:pt>
    <dgm:pt modelId="{176D34C7-1C45-4C88-8B8C-35F51EF65A09}" type="pres">
      <dgm:prSet presAssocID="{B6F70B09-DDCB-47BE-9CFB-78E324E7CA08}" presName="parentShp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D5A0A8D-1CE5-4AD2-95BF-948DC26CF968}" type="pres">
      <dgm:prSet presAssocID="{B6F70B09-DDCB-47BE-9CFB-78E324E7CA08}" presName="childShp" presStyleLbl="bg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821F76E-E01A-4DA3-A915-2062999B4524}" srcId="{E7989A24-44B0-4037-88C3-13F5705C6EC6}" destId="{C105ED8F-D9A0-4FF9-AE18-3AE7766B4FF2}" srcOrd="1" destOrd="0" parTransId="{8618430B-91D1-4E1D-9072-579EA658820C}" sibTransId="{EDF1F78F-916C-4619-8F53-B02B20673EB3}"/>
    <dgm:cxn modelId="{82AF7B8F-75D2-44C2-9741-7E1EA05EBBC3}" srcId="{B6F70B09-DDCB-47BE-9CFB-78E324E7CA08}" destId="{60E52A4F-D446-4774-98FF-149D96B0D975}" srcOrd="0" destOrd="0" parTransId="{E07D55FB-F468-4068-9C84-8E44D637D6AF}" sibTransId="{36588F86-C04E-4190-B291-4280EC9538A8}"/>
    <dgm:cxn modelId="{C48A14A2-B2C2-46FB-AC93-79FB6C9308B7}" type="presOf" srcId="{C105ED8F-D9A0-4FF9-AE18-3AE7766B4FF2}" destId="{8D2EBB5D-45F4-4CA7-8220-A88316A5236F}" srcOrd="0" destOrd="1" presId="urn:microsoft.com/office/officeart/2005/8/layout/vList6"/>
    <dgm:cxn modelId="{79D71951-D289-4738-AF04-FBD42482B9E8}" srcId="{B6F70B09-DDCB-47BE-9CFB-78E324E7CA08}" destId="{E9E33B02-0293-4AB2-8C52-C666F1F777D2}" srcOrd="1" destOrd="0" parTransId="{CAC9313A-BE54-4690-AE2A-0B4713162138}" sibTransId="{ACEA60D0-FCF0-4995-AB88-6C554CAD98D9}"/>
    <dgm:cxn modelId="{22811082-4514-4399-A372-1F23D8657D94}" srcId="{E83FC350-53F5-4B44-AA03-0368328506A2}" destId="{E7989A24-44B0-4037-88C3-13F5705C6EC6}" srcOrd="0" destOrd="0" parTransId="{BB523258-09BC-4180-9773-366CDF7677AB}" sibTransId="{AA6F83FF-CC68-4333-B7A6-3516B581B344}"/>
    <dgm:cxn modelId="{0095EA42-B4D5-48F1-9D07-AF1B7150892A}" type="presOf" srcId="{B6F70B09-DDCB-47BE-9CFB-78E324E7CA08}" destId="{176D34C7-1C45-4C88-8B8C-35F51EF65A09}" srcOrd="0" destOrd="0" presId="urn:microsoft.com/office/officeart/2005/8/layout/vList6"/>
    <dgm:cxn modelId="{EC7118F3-64C4-4442-8C38-599300993CB9}" type="presOf" srcId="{E83FC350-53F5-4B44-AA03-0368328506A2}" destId="{DA71C964-1B36-4CFE-8606-2006D8702A9B}" srcOrd="0" destOrd="0" presId="urn:microsoft.com/office/officeart/2005/8/layout/vList6"/>
    <dgm:cxn modelId="{A38580F6-A1E3-4252-B62D-2CF6A5FD1820}" type="presOf" srcId="{E9E33B02-0293-4AB2-8C52-C666F1F777D2}" destId="{DD5A0A8D-1CE5-4AD2-95BF-948DC26CF968}" srcOrd="0" destOrd="1" presId="urn:microsoft.com/office/officeart/2005/8/layout/vList6"/>
    <dgm:cxn modelId="{F7428542-964B-4265-BD87-C563074CAC23}" type="presOf" srcId="{60E52A4F-D446-4774-98FF-149D96B0D975}" destId="{DD5A0A8D-1CE5-4AD2-95BF-948DC26CF968}" srcOrd="0" destOrd="0" presId="urn:microsoft.com/office/officeart/2005/8/layout/vList6"/>
    <dgm:cxn modelId="{1D750481-F958-4FBC-9D2A-1D9C60771A0D}" type="presOf" srcId="{E7989A24-44B0-4037-88C3-13F5705C6EC6}" destId="{90EB684D-21E2-4A59-84FF-852FB4143A30}" srcOrd="0" destOrd="0" presId="urn:microsoft.com/office/officeart/2005/8/layout/vList6"/>
    <dgm:cxn modelId="{9335E48E-28A9-4506-B04F-869F60588AE3}" srcId="{E83FC350-53F5-4B44-AA03-0368328506A2}" destId="{B6F70B09-DDCB-47BE-9CFB-78E324E7CA08}" srcOrd="1" destOrd="0" parTransId="{B43CFE7A-DC07-49BE-92E0-1E1C0B2F9D49}" sibTransId="{413F56D7-219F-4E97-BD09-615C7BAFA3FE}"/>
    <dgm:cxn modelId="{4F6B30D9-89D4-4642-AF50-192A5B8A9EA6}" srcId="{E7989A24-44B0-4037-88C3-13F5705C6EC6}" destId="{0A561E03-3A78-49D4-A495-BAC67791878D}" srcOrd="0" destOrd="0" parTransId="{2814735A-F226-431B-B729-4D066AF8E63A}" sibTransId="{C81956CC-BC12-43AE-A54B-C42431554D2E}"/>
    <dgm:cxn modelId="{49115BA3-9C5C-4F81-8F78-E11C3E29DC7A}" type="presOf" srcId="{0A561E03-3A78-49D4-A495-BAC67791878D}" destId="{8D2EBB5D-45F4-4CA7-8220-A88316A5236F}" srcOrd="0" destOrd="0" presId="urn:microsoft.com/office/officeart/2005/8/layout/vList6"/>
    <dgm:cxn modelId="{55581FB9-9BE8-42B3-8A5B-01576A19EDB1}" type="presParOf" srcId="{DA71C964-1B36-4CFE-8606-2006D8702A9B}" destId="{34C0E468-7A6C-4372-BEFF-9D2A6D91583A}" srcOrd="0" destOrd="0" presId="urn:microsoft.com/office/officeart/2005/8/layout/vList6"/>
    <dgm:cxn modelId="{02CFD1F3-95A0-4FC1-9CDA-79F516575AE2}" type="presParOf" srcId="{34C0E468-7A6C-4372-BEFF-9D2A6D91583A}" destId="{90EB684D-21E2-4A59-84FF-852FB4143A30}" srcOrd="0" destOrd="0" presId="urn:microsoft.com/office/officeart/2005/8/layout/vList6"/>
    <dgm:cxn modelId="{15670597-E76F-4EC4-AB15-74B6366185AB}" type="presParOf" srcId="{34C0E468-7A6C-4372-BEFF-9D2A6D91583A}" destId="{8D2EBB5D-45F4-4CA7-8220-A88316A5236F}" srcOrd="1" destOrd="0" presId="urn:microsoft.com/office/officeart/2005/8/layout/vList6"/>
    <dgm:cxn modelId="{EF281368-9FD0-41D3-9184-EBF1B969E1AA}" type="presParOf" srcId="{DA71C964-1B36-4CFE-8606-2006D8702A9B}" destId="{5B56BF20-E7DA-4FBF-B4EB-F23A6AD11EC5}" srcOrd="1" destOrd="0" presId="urn:microsoft.com/office/officeart/2005/8/layout/vList6"/>
    <dgm:cxn modelId="{96EF2383-006B-4548-BDA1-E1C68133D89C}" type="presParOf" srcId="{DA71C964-1B36-4CFE-8606-2006D8702A9B}" destId="{A7010A8F-5305-43F2-B662-6AAC8DE84A8F}" srcOrd="2" destOrd="0" presId="urn:microsoft.com/office/officeart/2005/8/layout/vList6"/>
    <dgm:cxn modelId="{F8C5B54D-D8FD-44BE-8244-B92E07FA0576}" type="presParOf" srcId="{A7010A8F-5305-43F2-B662-6AAC8DE84A8F}" destId="{176D34C7-1C45-4C88-8B8C-35F51EF65A09}" srcOrd="0" destOrd="0" presId="urn:microsoft.com/office/officeart/2005/8/layout/vList6"/>
    <dgm:cxn modelId="{8A410326-C547-476D-AA97-BEA23C57F737}" type="presParOf" srcId="{A7010A8F-5305-43F2-B662-6AAC8DE84A8F}" destId="{DD5A0A8D-1CE5-4AD2-95BF-948DC26CF968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83FC350-53F5-4B44-AA03-0368328506A2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7989A24-44B0-4037-88C3-13F5705C6EC6}">
      <dgm:prSet phldrT="[Текст]"/>
      <dgm:spPr/>
      <dgm:t>
        <a:bodyPr/>
        <a:lstStyle/>
        <a:p>
          <a:pPr algn="l"/>
          <a:r>
            <a:rPr lang="ru-RU" dirty="0" smtClean="0"/>
            <a:t>3. Переход к персонализированной медицине, высокотехнологичному здравоохранению и технологиям </a:t>
          </a:r>
          <a:r>
            <a:rPr lang="ru-RU" dirty="0" err="1" smtClean="0"/>
            <a:t>здоровьесбережения</a:t>
          </a:r>
          <a:r>
            <a:rPr lang="ru-RU" dirty="0" smtClean="0"/>
            <a:t>…</a:t>
          </a:r>
          <a:endParaRPr lang="ru-RU" dirty="0"/>
        </a:p>
      </dgm:t>
    </dgm:pt>
    <dgm:pt modelId="{BB523258-09BC-4180-9773-366CDF7677AB}" type="parTrans" cxnId="{22811082-4514-4399-A372-1F23D8657D94}">
      <dgm:prSet/>
      <dgm:spPr/>
      <dgm:t>
        <a:bodyPr/>
        <a:lstStyle/>
        <a:p>
          <a:endParaRPr lang="ru-RU"/>
        </a:p>
      </dgm:t>
    </dgm:pt>
    <dgm:pt modelId="{AA6F83FF-CC68-4333-B7A6-3516B581B344}" type="sibTrans" cxnId="{22811082-4514-4399-A372-1F23D8657D94}">
      <dgm:prSet/>
      <dgm:spPr/>
      <dgm:t>
        <a:bodyPr/>
        <a:lstStyle/>
        <a:p>
          <a:endParaRPr lang="ru-RU"/>
        </a:p>
      </dgm:t>
    </dgm:pt>
    <dgm:pt modelId="{0A561E03-3A78-49D4-A495-BAC67791878D}">
      <dgm:prSet phldrT="[Текст]"/>
      <dgm:spPr/>
      <dgm:t>
        <a:bodyPr/>
        <a:lstStyle/>
        <a:p>
          <a:r>
            <a:rPr lang="ru-RU" dirty="0" smtClean="0"/>
            <a:t>Общий (целевой) раздел проекта ФГОС</a:t>
          </a:r>
          <a:endParaRPr lang="ru-RU" dirty="0"/>
        </a:p>
      </dgm:t>
    </dgm:pt>
    <dgm:pt modelId="{2814735A-F226-431B-B729-4D066AF8E63A}" type="parTrans" cxnId="{4F6B30D9-89D4-4642-AF50-192A5B8A9EA6}">
      <dgm:prSet/>
      <dgm:spPr/>
      <dgm:t>
        <a:bodyPr/>
        <a:lstStyle/>
        <a:p>
          <a:endParaRPr lang="ru-RU"/>
        </a:p>
      </dgm:t>
    </dgm:pt>
    <dgm:pt modelId="{C81956CC-BC12-43AE-A54B-C42431554D2E}" type="sibTrans" cxnId="{4F6B30D9-89D4-4642-AF50-192A5B8A9EA6}">
      <dgm:prSet/>
      <dgm:spPr/>
      <dgm:t>
        <a:bodyPr/>
        <a:lstStyle/>
        <a:p>
          <a:endParaRPr lang="ru-RU"/>
        </a:p>
      </dgm:t>
    </dgm:pt>
    <dgm:pt modelId="{C105ED8F-D9A0-4FF9-AE18-3AE7766B4FF2}">
      <dgm:prSet phldrT="[Текст]"/>
      <dgm:spPr/>
      <dgm:t>
        <a:bodyPr/>
        <a:lstStyle/>
        <a:p>
          <a:r>
            <a:rPr lang="ru-RU" dirty="0" smtClean="0"/>
            <a:t>Ориентированы результаты по предмету «Физика», «Биология»</a:t>
          </a:r>
          <a:endParaRPr lang="ru-RU" dirty="0"/>
        </a:p>
      </dgm:t>
    </dgm:pt>
    <dgm:pt modelId="{8618430B-91D1-4E1D-9072-579EA658820C}" type="parTrans" cxnId="{2821F76E-E01A-4DA3-A915-2062999B4524}">
      <dgm:prSet/>
      <dgm:spPr/>
      <dgm:t>
        <a:bodyPr/>
        <a:lstStyle/>
        <a:p>
          <a:endParaRPr lang="ru-RU"/>
        </a:p>
      </dgm:t>
    </dgm:pt>
    <dgm:pt modelId="{EDF1F78F-916C-4619-8F53-B02B20673EB3}" type="sibTrans" cxnId="{2821F76E-E01A-4DA3-A915-2062999B4524}">
      <dgm:prSet/>
      <dgm:spPr/>
      <dgm:t>
        <a:bodyPr/>
        <a:lstStyle/>
        <a:p>
          <a:endParaRPr lang="ru-RU"/>
        </a:p>
      </dgm:t>
    </dgm:pt>
    <dgm:pt modelId="{05171C0F-D1AB-4C8E-B23A-55F62980F6C6}">
      <dgm:prSet phldrT="[Текст]"/>
      <dgm:spPr/>
      <dgm:t>
        <a:bodyPr/>
        <a:lstStyle/>
        <a:p>
          <a:r>
            <a:rPr lang="ru-RU" dirty="0" smtClean="0"/>
            <a:t>Личностные результаты реализации ОП</a:t>
          </a:r>
          <a:endParaRPr lang="ru-RU" dirty="0"/>
        </a:p>
      </dgm:t>
    </dgm:pt>
    <dgm:pt modelId="{17CEDCF8-8029-41BA-9B7E-84AAC3A03C66}" type="parTrans" cxnId="{FCDF8914-91AB-41F0-AAF9-DD45ADBD56A6}">
      <dgm:prSet/>
      <dgm:spPr/>
      <dgm:t>
        <a:bodyPr/>
        <a:lstStyle/>
        <a:p>
          <a:endParaRPr lang="ru-RU"/>
        </a:p>
      </dgm:t>
    </dgm:pt>
    <dgm:pt modelId="{05B5F0AC-0CD9-4C53-A7B8-614C3EB86343}" type="sibTrans" cxnId="{FCDF8914-91AB-41F0-AAF9-DD45ADBD56A6}">
      <dgm:prSet/>
      <dgm:spPr/>
      <dgm:t>
        <a:bodyPr/>
        <a:lstStyle/>
        <a:p>
          <a:endParaRPr lang="ru-RU"/>
        </a:p>
      </dgm:t>
    </dgm:pt>
    <dgm:pt modelId="{FF900A6E-E6E8-490C-901E-8D45EF28DBD0}">
      <dgm:prSet phldrT="[Текст]"/>
      <dgm:spPr/>
      <dgm:t>
        <a:bodyPr/>
        <a:lstStyle/>
        <a:p>
          <a:pPr algn="l"/>
          <a:r>
            <a:rPr lang="ru-RU" dirty="0" smtClean="0"/>
            <a:t>4. Переход к высокопродуктивному и экологически чистому </a:t>
          </a:r>
          <a:r>
            <a:rPr lang="ru-RU" dirty="0" err="1" smtClean="0"/>
            <a:t>агро</a:t>
          </a:r>
          <a:r>
            <a:rPr lang="ru-RU" dirty="0" smtClean="0"/>
            <a:t>- и </a:t>
          </a:r>
          <a:r>
            <a:rPr lang="ru-RU" dirty="0" err="1" smtClean="0"/>
            <a:t>аквахозяйству</a:t>
          </a:r>
          <a:r>
            <a:rPr lang="ru-RU" dirty="0" smtClean="0"/>
            <a:t>, разработку и внедрение систем рационального применения средств химической и биологической защиты …</a:t>
          </a:r>
          <a:endParaRPr lang="ru-RU" dirty="0"/>
        </a:p>
      </dgm:t>
    </dgm:pt>
    <dgm:pt modelId="{561918F5-2EDB-478E-91D9-E995B7064D49}" type="parTrans" cxnId="{2838C97D-3A8C-4B04-884E-06260926DC73}">
      <dgm:prSet/>
      <dgm:spPr/>
      <dgm:t>
        <a:bodyPr/>
        <a:lstStyle/>
        <a:p>
          <a:endParaRPr lang="ru-RU"/>
        </a:p>
      </dgm:t>
    </dgm:pt>
    <dgm:pt modelId="{1CCA52D6-4882-4E8D-923A-5961DC5E67CF}" type="sibTrans" cxnId="{2838C97D-3A8C-4B04-884E-06260926DC73}">
      <dgm:prSet/>
      <dgm:spPr/>
      <dgm:t>
        <a:bodyPr/>
        <a:lstStyle/>
        <a:p>
          <a:endParaRPr lang="ru-RU"/>
        </a:p>
      </dgm:t>
    </dgm:pt>
    <dgm:pt modelId="{5C1F789E-1446-44EB-BD7C-BC729AFBEC38}">
      <dgm:prSet phldrT="[Текст]"/>
      <dgm:spPr/>
      <dgm:t>
        <a:bodyPr/>
        <a:lstStyle/>
        <a:p>
          <a:pPr algn="l"/>
          <a:r>
            <a:rPr lang="ru-RU" dirty="0" smtClean="0"/>
            <a:t>Общий (целевой) раздел проекта ФГОС</a:t>
          </a:r>
          <a:endParaRPr lang="ru-RU" dirty="0"/>
        </a:p>
      </dgm:t>
    </dgm:pt>
    <dgm:pt modelId="{FB62B6E7-3CD6-4EF4-8310-829AEB983FF6}" type="parTrans" cxnId="{F48C8DB3-977E-4BCC-BBE1-6F586E02461E}">
      <dgm:prSet/>
      <dgm:spPr/>
      <dgm:t>
        <a:bodyPr/>
        <a:lstStyle/>
        <a:p>
          <a:endParaRPr lang="ru-RU"/>
        </a:p>
      </dgm:t>
    </dgm:pt>
    <dgm:pt modelId="{8247EAA0-0A91-4E69-9243-02E2608579D3}" type="sibTrans" cxnId="{F48C8DB3-977E-4BCC-BBE1-6F586E02461E}">
      <dgm:prSet/>
      <dgm:spPr/>
      <dgm:t>
        <a:bodyPr/>
        <a:lstStyle/>
        <a:p>
          <a:endParaRPr lang="ru-RU"/>
        </a:p>
      </dgm:t>
    </dgm:pt>
    <dgm:pt modelId="{2D4379FA-6223-4752-B754-53CBC61A84A4}">
      <dgm:prSet/>
      <dgm:spPr/>
      <dgm:t>
        <a:bodyPr/>
        <a:lstStyle/>
        <a:p>
          <a:r>
            <a:rPr lang="ru-RU" dirty="0" smtClean="0"/>
            <a:t>Личностные результаты реализации ОП</a:t>
          </a:r>
          <a:endParaRPr lang="ru-RU" dirty="0"/>
        </a:p>
      </dgm:t>
    </dgm:pt>
    <dgm:pt modelId="{5A61AE5E-6D7D-43EC-A4DF-332AB6C6BC06}" type="parTrans" cxnId="{4DA6C5D8-7CA3-41F8-B9CE-CEA51DE82629}">
      <dgm:prSet/>
      <dgm:spPr/>
      <dgm:t>
        <a:bodyPr/>
        <a:lstStyle/>
        <a:p>
          <a:endParaRPr lang="ru-RU"/>
        </a:p>
      </dgm:t>
    </dgm:pt>
    <dgm:pt modelId="{E88634E4-AAE3-4E99-8C06-ADAF25FC2CDC}" type="sibTrans" cxnId="{4DA6C5D8-7CA3-41F8-B9CE-CEA51DE82629}">
      <dgm:prSet/>
      <dgm:spPr/>
      <dgm:t>
        <a:bodyPr/>
        <a:lstStyle/>
        <a:p>
          <a:endParaRPr lang="ru-RU"/>
        </a:p>
      </dgm:t>
    </dgm:pt>
    <dgm:pt modelId="{273153FB-42FC-40BC-81AB-DD5F1DBC273F}">
      <dgm:prSet/>
      <dgm:spPr/>
      <dgm:t>
        <a:bodyPr/>
        <a:lstStyle/>
        <a:p>
          <a:r>
            <a:rPr lang="ru-RU" dirty="0" smtClean="0"/>
            <a:t>Ориентированы результаты по предмету «География», «Биология», «Технология»</a:t>
          </a:r>
          <a:endParaRPr lang="ru-RU" dirty="0"/>
        </a:p>
      </dgm:t>
    </dgm:pt>
    <dgm:pt modelId="{8ABE5B2C-A874-46D9-836D-E30B4194A433}" type="parTrans" cxnId="{C8EF0166-839A-4BE8-8B1F-6A649B50ACD6}">
      <dgm:prSet/>
      <dgm:spPr/>
      <dgm:t>
        <a:bodyPr/>
        <a:lstStyle/>
        <a:p>
          <a:endParaRPr lang="ru-RU"/>
        </a:p>
      </dgm:t>
    </dgm:pt>
    <dgm:pt modelId="{EC2FB708-1F8C-45CF-B4C6-3084E4A0A70D}" type="sibTrans" cxnId="{C8EF0166-839A-4BE8-8B1F-6A649B50ACD6}">
      <dgm:prSet/>
      <dgm:spPr/>
      <dgm:t>
        <a:bodyPr/>
        <a:lstStyle/>
        <a:p>
          <a:endParaRPr lang="ru-RU"/>
        </a:p>
      </dgm:t>
    </dgm:pt>
    <dgm:pt modelId="{DA71C964-1B36-4CFE-8606-2006D8702A9B}" type="pres">
      <dgm:prSet presAssocID="{E83FC350-53F5-4B44-AA03-0368328506A2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34C0E468-7A6C-4372-BEFF-9D2A6D91583A}" type="pres">
      <dgm:prSet presAssocID="{E7989A24-44B0-4037-88C3-13F5705C6EC6}" presName="linNode" presStyleCnt="0"/>
      <dgm:spPr/>
    </dgm:pt>
    <dgm:pt modelId="{90EB684D-21E2-4A59-84FF-852FB4143A30}" type="pres">
      <dgm:prSet presAssocID="{E7989A24-44B0-4037-88C3-13F5705C6EC6}" presName="parentShp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2EBB5D-45F4-4CA7-8220-A88316A5236F}" type="pres">
      <dgm:prSet presAssocID="{E7989A24-44B0-4037-88C3-13F5705C6EC6}" presName="childShp" presStyleLbl="bg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B56BF20-E7DA-4FBF-B4EB-F23A6AD11EC5}" type="pres">
      <dgm:prSet presAssocID="{AA6F83FF-CC68-4333-B7A6-3516B581B344}" presName="spacing" presStyleCnt="0"/>
      <dgm:spPr/>
    </dgm:pt>
    <dgm:pt modelId="{E9B03AB4-6EEE-451E-939D-1520047C4B75}" type="pres">
      <dgm:prSet presAssocID="{FF900A6E-E6E8-490C-901E-8D45EF28DBD0}" presName="linNode" presStyleCnt="0"/>
      <dgm:spPr/>
    </dgm:pt>
    <dgm:pt modelId="{A4677C7B-676D-453E-BE82-113C33183D2C}" type="pres">
      <dgm:prSet presAssocID="{FF900A6E-E6E8-490C-901E-8D45EF28DBD0}" presName="parentShp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0A3A35F-5268-446A-9343-CF8C36902497}" type="pres">
      <dgm:prSet presAssocID="{FF900A6E-E6E8-490C-901E-8D45EF28DBD0}" presName="childShp" presStyleLbl="bg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4F6B30D9-89D4-4642-AF50-192A5B8A9EA6}" srcId="{E7989A24-44B0-4037-88C3-13F5705C6EC6}" destId="{0A561E03-3A78-49D4-A495-BAC67791878D}" srcOrd="0" destOrd="0" parTransId="{2814735A-F226-431B-B729-4D066AF8E63A}" sibTransId="{C81956CC-BC12-43AE-A54B-C42431554D2E}"/>
    <dgm:cxn modelId="{33DB9AC0-36A6-42B8-838F-8893F545AD5E}" type="presOf" srcId="{0A561E03-3A78-49D4-A495-BAC67791878D}" destId="{8D2EBB5D-45F4-4CA7-8220-A88316A5236F}" srcOrd="0" destOrd="0" presId="urn:microsoft.com/office/officeart/2005/8/layout/vList6"/>
    <dgm:cxn modelId="{97D56863-DC18-4ED7-90AF-1E5A26D2A25D}" type="presOf" srcId="{2D4379FA-6223-4752-B754-53CBC61A84A4}" destId="{A0A3A35F-5268-446A-9343-CF8C36902497}" srcOrd="0" destOrd="1" presId="urn:microsoft.com/office/officeart/2005/8/layout/vList6"/>
    <dgm:cxn modelId="{F48C8DB3-977E-4BCC-BBE1-6F586E02461E}" srcId="{FF900A6E-E6E8-490C-901E-8D45EF28DBD0}" destId="{5C1F789E-1446-44EB-BD7C-BC729AFBEC38}" srcOrd="0" destOrd="0" parTransId="{FB62B6E7-3CD6-4EF4-8310-829AEB983FF6}" sibTransId="{8247EAA0-0A91-4E69-9243-02E2608579D3}"/>
    <dgm:cxn modelId="{2838C97D-3A8C-4B04-884E-06260926DC73}" srcId="{E83FC350-53F5-4B44-AA03-0368328506A2}" destId="{FF900A6E-E6E8-490C-901E-8D45EF28DBD0}" srcOrd="1" destOrd="0" parTransId="{561918F5-2EDB-478E-91D9-E995B7064D49}" sibTransId="{1CCA52D6-4882-4E8D-923A-5961DC5E67CF}"/>
    <dgm:cxn modelId="{C8EF0166-839A-4BE8-8B1F-6A649B50ACD6}" srcId="{FF900A6E-E6E8-490C-901E-8D45EF28DBD0}" destId="{273153FB-42FC-40BC-81AB-DD5F1DBC273F}" srcOrd="2" destOrd="0" parTransId="{8ABE5B2C-A874-46D9-836D-E30B4194A433}" sibTransId="{EC2FB708-1F8C-45CF-B4C6-3084E4A0A70D}"/>
    <dgm:cxn modelId="{7DA1732D-C1A7-4E33-BD60-436AD55C361C}" type="presOf" srcId="{273153FB-42FC-40BC-81AB-DD5F1DBC273F}" destId="{A0A3A35F-5268-446A-9343-CF8C36902497}" srcOrd="0" destOrd="2" presId="urn:microsoft.com/office/officeart/2005/8/layout/vList6"/>
    <dgm:cxn modelId="{2A696737-A6D9-4ADA-80BB-8B574F47E7C6}" type="presOf" srcId="{E7989A24-44B0-4037-88C3-13F5705C6EC6}" destId="{90EB684D-21E2-4A59-84FF-852FB4143A30}" srcOrd="0" destOrd="0" presId="urn:microsoft.com/office/officeart/2005/8/layout/vList6"/>
    <dgm:cxn modelId="{6F4D1FBE-C1E4-4DE5-8D38-522E9B1F6124}" type="presOf" srcId="{C105ED8F-D9A0-4FF9-AE18-3AE7766B4FF2}" destId="{8D2EBB5D-45F4-4CA7-8220-A88316A5236F}" srcOrd="0" destOrd="2" presId="urn:microsoft.com/office/officeart/2005/8/layout/vList6"/>
    <dgm:cxn modelId="{D7E64F4C-8C4D-4175-9935-F0CE3861B121}" type="presOf" srcId="{05171C0F-D1AB-4C8E-B23A-55F62980F6C6}" destId="{8D2EBB5D-45F4-4CA7-8220-A88316A5236F}" srcOrd="0" destOrd="1" presId="urn:microsoft.com/office/officeart/2005/8/layout/vList6"/>
    <dgm:cxn modelId="{AC8D7CB8-18B1-4D57-B55B-CBB5D6778672}" type="presOf" srcId="{FF900A6E-E6E8-490C-901E-8D45EF28DBD0}" destId="{A4677C7B-676D-453E-BE82-113C33183D2C}" srcOrd="0" destOrd="0" presId="urn:microsoft.com/office/officeart/2005/8/layout/vList6"/>
    <dgm:cxn modelId="{2821F76E-E01A-4DA3-A915-2062999B4524}" srcId="{E7989A24-44B0-4037-88C3-13F5705C6EC6}" destId="{C105ED8F-D9A0-4FF9-AE18-3AE7766B4FF2}" srcOrd="2" destOrd="0" parTransId="{8618430B-91D1-4E1D-9072-579EA658820C}" sibTransId="{EDF1F78F-916C-4619-8F53-B02B20673EB3}"/>
    <dgm:cxn modelId="{3A6B3AB6-158A-4DCA-85D6-4A7863A8E4CF}" type="presOf" srcId="{E83FC350-53F5-4B44-AA03-0368328506A2}" destId="{DA71C964-1B36-4CFE-8606-2006D8702A9B}" srcOrd="0" destOrd="0" presId="urn:microsoft.com/office/officeart/2005/8/layout/vList6"/>
    <dgm:cxn modelId="{CD6516C2-AF2A-4885-80B0-9477577AC842}" type="presOf" srcId="{5C1F789E-1446-44EB-BD7C-BC729AFBEC38}" destId="{A0A3A35F-5268-446A-9343-CF8C36902497}" srcOrd="0" destOrd="0" presId="urn:microsoft.com/office/officeart/2005/8/layout/vList6"/>
    <dgm:cxn modelId="{FCDF8914-91AB-41F0-AAF9-DD45ADBD56A6}" srcId="{E7989A24-44B0-4037-88C3-13F5705C6EC6}" destId="{05171C0F-D1AB-4C8E-B23A-55F62980F6C6}" srcOrd="1" destOrd="0" parTransId="{17CEDCF8-8029-41BA-9B7E-84AAC3A03C66}" sibTransId="{05B5F0AC-0CD9-4C53-A7B8-614C3EB86343}"/>
    <dgm:cxn modelId="{22811082-4514-4399-A372-1F23D8657D94}" srcId="{E83FC350-53F5-4B44-AA03-0368328506A2}" destId="{E7989A24-44B0-4037-88C3-13F5705C6EC6}" srcOrd="0" destOrd="0" parTransId="{BB523258-09BC-4180-9773-366CDF7677AB}" sibTransId="{AA6F83FF-CC68-4333-B7A6-3516B581B344}"/>
    <dgm:cxn modelId="{4DA6C5D8-7CA3-41F8-B9CE-CEA51DE82629}" srcId="{FF900A6E-E6E8-490C-901E-8D45EF28DBD0}" destId="{2D4379FA-6223-4752-B754-53CBC61A84A4}" srcOrd="1" destOrd="0" parTransId="{5A61AE5E-6D7D-43EC-A4DF-332AB6C6BC06}" sibTransId="{E88634E4-AAE3-4E99-8C06-ADAF25FC2CDC}"/>
    <dgm:cxn modelId="{23C25FA6-7132-4962-9E61-5CB67E03BDD0}" type="presParOf" srcId="{DA71C964-1B36-4CFE-8606-2006D8702A9B}" destId="{34C0E468-7A6C-4372-BEFF-9D2A6D91583A}" srcOrd="0" destOrd="0" presId="urn:microsoft.com/office/officeart/2005/8/layout/vList6"/>
    <dgm:cxn modelId="{299AAB9C-9335-4DA5-BA55-02098267DBDA}" type="presParOf" srcId="{34C0E468-7A6C-4372-BEFF-9D2A6D91583A}" destId="{90EB684D-21E2-4A59-84FF-852FB4143A30}" srcOrd="0" destOrd="0" presId="urn:microsoft.com/office/officeart/2005/8/layout/vList6"/>
    <dgm:cxn modelId="{CE5BE060-6AA8-4D71-BC59-675CF356EF8E}" type="presParOf" srcId="{34C0E468-7A6C-4372-BEFF-9D2A6D91583A}" destId="{8D2EBB5D-45F4-4CA7-8220-A88316A5236F}" srcOrd="1" destOrd="0" presId="urn:microsoft.com/office/officeart/2005/8/layout/vList6"/>
    <dgm:cxn modelId="{2A660F29-E0E2-4124-AB56-60C16C3C47DF}" type="presParOf" srcId="{DA71C964-1B36-4CFE-8606-2006D8702A9B}" destId="{5B56BF20-E7DA-4FBF-B4EB-F23A6AD11EC5}" srcOrd="1" destOrd="0" presId="urn:microsoft.com/office/officeart/2005/8/layout/vList6"/>
    <dgm:cxn modelId="{E789A7BE-9684-45FA-9A69-45D34E11DDF0}" type="presParOf" srcId="{DA71C964-1B36-4CFE-8606-2006D8702A9B}" destId="{E9B03AB4-6EEE-451E-939D-1520047C4B75}" srcOrd="2" destOrd="0" presId="urn:microsoft.com/office/officeart/2005/8/layout/vList6"/>
    <dgm:cxn modelId="{EF34CB83-4967-4F58-95EC-AA25F695A4EE}" type="presParOf" srcId="{E9B03AB4-6EEE-451E-939D-1520047C4B75}" destId="{A4677C7B-676D-453E-BE82-113C33183D2C}" srcOrd="0" destOrd="0" presId="urn:microsoft.com/office/officeart/2005/8/layout/vList6"/>
    <dgm:cxn modelId="{ACB4AB0A-2B51-4B56-BFDB-78B11BD5FB19}" type="presParOf" srcId="{E9B03AB4-6EEE-451E-939D-1520047C4B75}" destId="{A0A3A35F-5268-446A-9343-CF8C36902497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83FC350-53F5-4B44-AA03-0368328506A2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7989A24-44B0-4037-88C3-13F5705C6EC6}">
      <dgm:prSet phldrT="[Текст]" custT="1"/>
      <dgm:spPr/>
      <dgm:t>
        <a:bodyPr/>
        <a:lstStyle/>
        <a:p>
          <a:pPr algn="l"/>
          <a:r>
            <a:rPr lang="ru-RU" sz="2000" dirty="0" smtClean="0"/>
            <a:t>5. Противодействие техногенным, биогенным, социокультурным угрозам, терроризму и идеологическому экстремизму, а также </a:t>
          </a:r>
          <a:r>
            <a:rPr lang="ru-RU" sz="2000" dirty="0" err="1" smtClean="0"/>
            <a:t>киберугрозам</a:t>
          </a:r>
          <a:r>
            <a:rPr lang="ru-RU" sz="2000" dirty="0" smtClean="0"/>
            <a:t> и иным источникам опасности</a:t>
          </a:r>
          <a:endParaRPr lang="ru-RU" sz="2000" dirty="0"/>
        </a:p>
      </dgm:t>
    </dgm:pt>
    <dgm:pt modelId="{BB523258-09BC-4180-9773-366CDF7677AB}" type="parTrans" cxnId="{22811082-4514-4399-A372-1F23D8657D94}">
      <dgm:prSet/>
      <dgm:spPr/>
      <dgm:t>
        <a:bodyPr/>
        <a:lstStyle/>
        <a:p>
          <a:endParaRPr lang="ru-RU"/>
        </a:p>
      </dgm:t>
    </dgm:pt>
    <dgm:pt modelId="{AA6F83FF-CC68-4333-B7A6-3516B581B344}" type="sibTrans" cxnId="{22811082-4514-4399-A372-1F23D8657D94}">
      <dgm:prSet/>
      <dgm:spPr/>
      <dgm:t>
        <a:bodyPr/>
        <a:lstStyle/>
        <a:p>
          <a:endParaRPr lang="ru-RU"/>
        </a:p>
      </dgm:t>
    </dgm:pt>
    <dgm:pt modelId="{0A561E03-3A78-49D4-A495-BAC67791878D}">
      <dgm:prSet phldrT="[Текст]"/>
      <dgm:spPr/>
      <dgm:t>
        <a:bodyPr/>
        <a:lstStyle/>
        <a:p>
          <a:r>
            <a:rPr lang="ru-RU" dirty="0" smtClean="0"/>
            <a:t>Личностные результаты реализации ОП</a:t>
          </a:r>
          <a:endParaRPr lang="ru-RU" dirty="0"/>
        </a:p>
      </dgm:t>
    </dgm:pt>
    <dgm:pt modelId="{2814735A-F226-431B-B729-4D066AF8E63A}" type="parTrans" cxnId="{4F6B30D9-89D4-4642-AF50-192A5B8A9EA6}">
      <dgm:prSet/>
      <dgm:spPr/>
      <dgm:t>
        <a:bodyPr/>
        <a:lstStyle/>
        <a:p>
          <a:endParaRPr lang="ru-RU"/>
        </a:p>
      </dgm:t>
    </dgm:pt>
    <dgm:pt modelId="{C81956CC-BC12-43AE-A54B-C42431554D2E}" type="sibTrans" cxnId="{4F6B30D9-89D4-4642-AF50-192A5B8A9EA6}">
      <dgm:prSet/>
      <dgm:spPr/>
      <dgm:t>
        <a:bodyPr/>
        <a:lstStyle/>
        <a:p>
          <a:endParaRPr lang="ru-RU"/>
        </a:p>
      </dgm:t>
    </dgm:pt>
    <dgm:pt modelId="{C105ED8F-D9A0-4FF9-AE18-3AE7766B4FF2}">
      <dgm:prSet phldrT="[Текст]"/>
      <dgm:spPr/>
      <dgm:t>
        <a:bodyPr/>
        <a:lstStyle/>
        <a:p>
          <a:r>
            <a:rPr lang="ru-RU" dirty="0" smtClean="0"/>
            <a:t>Ориентированы результаты по предмету «Физика», «География», «Химия», «Биология», «Основы безопасности жизнедеятельности» «Литература», «Обществознание», «Информатика».</a:t>
          </a:r>
          <a:endParaRPr lang="ru-RU" dirty="0"/>
        </a:p>
      </dgm:t>
    </dgm:pt>
    <dgm:pt modelId="{8618430B-91D1-4E1D-9072-579EA658820C}" type="parTrans" cxnId="{2821F76E-E01A-4DA3-A915-2062999B4524}">
      <dgm:prSet/>
      <dgm:spPr/>
      <dgm:t>
        <a:bodyPr/>
        <a:lstStyle/>
        <a:p>
          <a:endParaRPr lang="ru-RU"/>
        </a:p>
      </dgm:t>
    </dgm:pt>
    <dgm:pt modelId="{EDF1F78F-916C-4619-8F53-B02B20673EB3}" type="sibTrans" cxnId="{2821F76E-E01A-4DA3-A915-2062999B4524}">
      <dgm:prSet/>
      <dgm:spPr/>
      <dgm:t>
        <a:bodyPr/>
        <a:lstStyle/>
        <a:p>
          <a:endParaRPr lang="ru-RU"/>
        </a:p>
      </dgm:t>
    </dgm:pt>
    <dgm:pt modelId="{8581AE66-C591-4EAF-9E0C-C79789AE5410}">
      <dgm:prSet phldrT="[Текст]"/>
      <dgm:spPr/>
      <dgm:t>
        <a:bodyPr/>
        <a:lstStyle/>
        <a:p>
          <a:r>
            <a:rPr lang="ru-RU" dirty="0" err="1" smtClean="0"/>
            <a:t>Метапредметные</a:t>
          </a:r>
          <a:r>
            <a:rPr lang="ru-RU" dirty="0" smtClean="0"/>
            <a:t> результаты реализации ОП</a:t>
          </a:r>
          <a:endParaRPr lang="ru-RU" dirty="0"/>
        </a:p>
      </dgm:t>
    </dgm:pt>
    <dgm:pt modelId="{B2FC8208-1DE1-4C94-B883-4ED873B584F8}" type="parTrans" cxnId="{72514523-B0B6-4E84-A0E2-5E6585286B9C}">
      <dgm:prSet/>
      <dgm:spPr/>
      <dgm:t>
        <a:bodyPr/>
        <a:lstStyle/>
        <a:p>
          <a:endParaRPr lang="ru-RU"/>
        </a:p>
      </dgm:t>
    </dgm:pt>
    <dgm:pt modelId="{1557DE39-0ADD-4882-8DD3-01CE0B5539C2}" type="sibTrans" cxnId="{72514523-B0B6-4E84-A0E2-5E6585286B9C}">
      <dgm:prSet/>
      <dgm:spPr/>
      <dgm:t>
        <a:bodyPr/>
        <a:lstStyle/>
        <a:p>
          <a:endParaRPr lang="ru-RU"/>
        </a:p>
      </dgm:t>
    </dgm:pt>
    <dgm:pt modelId="{60FD4067-3C10-4E18-A8B2-C0CFC25A6472}">
      <dgm:prSet phldrT="[Текст]"/>
      <dgm:spPr/>
      <dgm:t>
        <a:bodyPr/>
        <a:lstStyle/>
        <a:p>
          <a:r>
            <a:rPr lang="ru-RU" dirty="0" smtClean="0"/>
            <a:t>7. Связанность территории Российской Федерации за счет создания интеллектуальных транспортных и телекоммуникационных систем…</a:t>
          </a:r>
          <a:endParaRPr lang="ru-RU" dirty="0"/>
        </a:p>
      </dgm:t>
    </dgm:pt>
    <dgm:pt modelId="{1A5FCBAF-5118-4580-9D6D-BC3D51CFADBE}" type="parTrans" cxnId="{31AEEDAF-FF50-4EA2-8069-29953488AFD4}">
      <dgm:prSet/>
      <dgm:spPr/>
      <dgm:t>
        <a:bodyPr/>
        <a:lstStyle/>
        <a:p>
          <a:endParaRPr lang="ru-RU"/>
        </a:p>
      </dgm:t>
    </dgm:pt>
    <dgm:pt modelId="{20C51443-EC40-4B45-99F5-7E1AC3C1148E}" type="sibTrans" cxnId="{31AEEDAF-FF50-4EA2-8069-29953488AFD4}">
      <dgm:prSet/>
      <dgm:spPr/>
      <dgm:t>
        <a:bodyPr/>
        <a:lstStyle/>
        <a:p>
          <a:endParaRPr lang="ru-RU"/>
        </a:p>
      </dgm:t>
    </dgm:pt>
    <dgm:pt modelId="{CE98B1F5-1A2E-43E2-8767-0C98C1995FF5}">
      <dgm:prSet phldrT="[Текст]"/>
      <dgm:spPr/>
      <dgm:t>
        <a:bodyPr/>
        <a:lstStyle/>
        <a:p>
          <a:r>
            <a:rPr lang="ru-RU" dirty="0" smtClean="0"/>
            <a:t>Ориентированы  результаты по предмету  «География», «Информатика»</a:t>
          </a:r>
          <a:endParaRPr lang="ru-RU" dirty="0"/>
        </a:p>
      </dgm:t>
    </dgm:pt>
    <dgm:pt modelId="{0DDC1C85-E613-4EFC-8E84-B91CF59598C0}" type="parTrans" cxnId="{BC3B83A3-530B-426F-B44D-0ADAFF917741}">
      <dgm:prSet/>
      <dgm:spPr/>
      <dgm:t>
        <a:bodyPr/>
        <a:lstStyle/>
        <a:p>
          <a:endParaRPr lang="ru-RU"/>
        </a:p>
      </dgm:t>
    </dgm:pt>
    <dgm:pt modelId="{7AF867BD-FE6C-4E6D-8277-51AC5F563458}" type="sibTrans" cxnId="{BC3B83A3-530B-426F-B44D-0ADAFF917741}">
      <dgm:prSet/>
      <dgm:spPr/>
      <dgm:t>
        <a:bodyPr/>
        <a:lstStyle/>
        <a:p>
          <a:endParaRPr lang="ru-RU"/>
        </a:p>
      </dgm:t>
    </dgm:pt>
    <dgm:pt modelId="{16009BB2-33FB-41C0-816E-C8E9204FE0A1}">
      <dgm:prSet/>
      <dgm:spPr/>
      <dgm:t>
        <a:bodyPr/>
        <a:lstStyle/>
        <a:p>
          <a:endParaRPr lang="ru-RU" dirty="0"/>
        </a:p>
      </dgm:t>
    </dgm:pt>
    <dgm:pt modelId="{6BCB4DA5-99D7-4EF9-B320-2F865A79F148}" type="parTrans" cxnId="{901B1985-280A-4218-8582-747DB2A05C1A}">
      <dgm:prSet/>
      <dgm:spPr/>
      <dgm:t>
        <a:bodyPr/>
        <a:lstStyle/>
        <a:p>
          <a:endParaRPr lang="ru-RU"/>
        </a:p>
      </dgm:t>
    </dgm:pt>
    <dgm:pt modelId="{C8C2230C-05B2-4AFA-B3B6-5A083209276E}" type="sibTrans" cxnId="{901B1985-280A-4218-8582-747DB2A05C1A}">
      <dgm:prSet/>
      <dgm:spPr/>
      <dgm:t>
        <a:bodyPr/>
        <a:lstStyle/>
        <a:p>
          <a:endParaRPr lang="ru-RU"/>
        </a:p>
      </dgm:t>
    </dgm:pt>
    <dgm:pt modelId="{C835DA1A-392D-4903-90D4-04C1D1C65116}">
      <dgm:prSet phldrT="[Текст]"/>
      <dgm:spPr/>
      <dgm:t>
        <a:bodyPr/>
        <a:lstStyle/>
        <a:p>
          <a:endParaRPr lang="ru-RU" dirty="0"/>
        </a:p>
      </dgm:t>
    </dgm:pt>
    <dgm:pt modelId="{F2F3DF59-2BD3-44EE-B8BC-46C0C6218DD9}" type="parTrans" cxnId="{CD77DB50-5A2B-4EE2-8EC9-7F7EEA1B2E30}">
      <dgm:prSet/>
      <dgm:spPr/>
      <dgm:t>
        <a:bodyPr/>
        <a:lstStyle/>
        <a:p>
          <a:endParaRPr lang="ru-RU"/>
        </a:p>
      </dgm:t>
    </dgm:pt>
    <dgm:pt modelId="{429DC156-2831-4EB9-B506-1A4DFA469173}" type="sibTrans" cxnId="{CD77DB50-5A2B-4EE2-8EC9-7F7EEA1B2E30}">
      <dgm:prSet/>
      <dgm:spPr/>
      <dgm:t>
        <a:bodyPr/>
        <a:lstStyle/>
        <a:p>
          <a:endParaRPr lang="ru-RU"/>
        </a:p>
      </dgm:t>
    </dgm:pt>
    <dgm:pt modelId="{6AB69650-AA57-48E7-B1EB-ECDD62746722}">
      <dgm:prSet phldrT="[Текст]"/>
      <dgm:spPr/>
      <dgm:t>
        <a:bodyPr/>
        <a:lstStyle/>
        <a:p>
          <a:endParaRPr lang="ru-RU" dirty="0"/>
        </a:p>
      </dgm:t>
    </dgm:pt>
    <dgm:pt modelId="{330A2614-D3EA-4176-B20F-DF50DCFD74DD}" type="parTrans" cxnId="{8F9E4B85-16DA-472B-BC4B-AA5E3A7D6C86}">
      <dgm:prSet/>
      <dgm:spPr/>
      <dgm:t>
        <a:bodyPr/>
        <a:lstStyle/>
        <a:p>
          <a:endParaRPr lang="ru-RU"/>
        </a:p>
      </dgm:t>
    </dgm:pt>
    <dgm:pt modelId="{8020C5F1-6020-4019-9455-0506BE2E3289}" type="sibTrans" cxnId="{8F9E4B85-16DA-472B-BC4B-AA5E3A7D6C86}">
      <dgm:prSet/>
      <dgm:spPr/>
      <dgm:t>
        <a:bodyPr/>
        <a:lstStyle/>
        <a:p>
          <a:endParaRPr lang="ru-RU"/>
        </a:p>
      </dgm:t>
    </dgm:pt>
    <dgm:pt modelId="{C8C13EAC-679F-4D5B-A3D0-5DC2151EB22D}">
      <dgm:prSet phldrT="[Текст]"/>
      <dgm:spPr/>
      <dgm:t>
        <a:bodyPr/>
        <a:lstStyle/>
        <a:p>
          <a:endParaRPr lang="ru-RU" dirty="0"/>
        </a:p>
      </dgm:t>
    </dgm:pt>
    <dgm:pt modelId="{24E7F6F3-4DE9-4F32-932B-4C3B2959A0E9}" type="parTrans" cxnId="{66D94D2B-0428-4309-B4E8-9CBFE5A4D102}">
      <dgm:prSet/>
      <dgm:spPr/>
      <dgm:t>
        <a:bodyPr/>
        <a:lstStyle/>
        <a:p>
          <a:endParaRPr lang="ru-RU"/>
        </a:p>
      </dgm:t>
    </dgm:pt>
    <dgm:pt modelId="{A3D7EE42-DF1E-4C27-A3C8-DC4E05C3EE5F}" type="sibTrans" cxnId="{66D94D2B-0428-4309-B4E8-9CBFE5A4D102}">
      <dgm:prSet/>
      <dgm:spPr/>
      <dgm:t>
        <a:bodyPr/>
        <a:lstStyle/>
        <a:p>
          <a:endParaRPr lang="ru-RU"/>
        </a:p>
      </dgm:t>
    </dgm:pt>
    <dgm:pt modelId="{DA71C964-1B36-4CFE-8606-2006D8702A9B}" type="pres">
      <dgm:prSet presAssocID="{E83FC350-53F5-4B44-AA03-0368328506A2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34C0E468-7A6C-4372-BEFF-9D2A6D91583A}" type="pres">
      <dgm:prSet presAssocID="{E7989A24-44B0-4037-88C3-13F5705C6EC6}" presName="linNode" presStyleCnt="0"/>
      <dgm:spPr/>
    </dgm:pt>
    <dgm:pt modelId="{90EB684D-21E2-4A59-84FF-852FB4143A30}" type="pres">
      <dgm:prSet presAssocID="{E7989A24-44B0-4037-88C3-13F5705C6EC6}" presName="parentShp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2EBB5D-45F4-4CA7-8220-A88316A5236F}" type="pres">
      <dgm:prSet presAssocID="{E7989A24-44B0-4037-88C3-13F5705C6EC6}" presName="childShp" presStyleLbl="bgAccFollow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B56BF20-E7DA-4FBF-B4EB-F23A6AD11EC5}" type="pres">
      <dgm:prSet presAssocID="{AA6F83FF-CC68-4333-B7A6-3516B581B344}" presName="spacing" presStyleCnt="0"/>
      <dgm:spPr/>
    </dgm:pt>
    <dgm:pt modelId="{A996D051-C466-4FC3-BDAC-5C5287293868}" type="pres">
      <dgm:prSet presAssocID="{60FD4067-3C10-4E18-A8B2-C0CFC25A6472}" presName="linNode" presStyleCnt="0"/>
      <dgm:spPr/>
    </dgm:pt>
    <dgm:pt modelId="{2EA68D77-1F65-42E4-8C5E-664A96E63979}" type="pres">
      <dgm:prSet presAssocID="{60FD4067-3C10-4E18-A8B2-C0CFC25A6472}" presName="parentShp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B3847CD-DE12-4F6F-B16D-287A9C2DA281}" type="pres">
      <dgm:prSet presAssocID="{60FD4067-3C10-4E18-A8B2-C0CFC25A6472}" presName="childShp" presStyleLbl="bgAccFollow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AFFEF08-239D-4FC4-BFDD-46BA81483431}" type="presOf" srcId="{6AB69650-AA57-48E7-B1EB-ECDD62746722}" destId="{8B3847CD-DE12-4F6F-B16D-287A9C2DA281}" srcOrd="0" destOrd="1" presId="urn:microsoft.com/office/officeart/2005/8/layout/vList6"/>
    <dgm:cxn modelId="{1C698B52-3A7E-4C17-82C1-B83F7A249D7E}" type="presOf" srcId="{C835DA1A-392D-4903-90D4-04C1D1C65116}" destId="{8B3847CD-DE12-4F6F-B16D-287A9C2DA281}" srcOrd="0" destOrd="0" presId="urn:microsoft.com/office/officeart/2005/8/layout/vList6"/>
    <dgm:cxn modelId="{4F6B30D9-89D4-4642-AF50-192A5B8A9EA6}" srcId="{E7989A24-44B0-4037-88C3-13F5705C6EC6}" destId="{0A561E03-3A78-49D4-A495-BAC67791878D}" srcOrd="0" destOrd="0" parTransId="{2814735A-F226-431B-B729-4D066AF8E63A}" sibTransId="{C81956CC-BC12-43AE-A54B-C42431554D2E}"/>
    <dgm:cxn modelId="{31AEEDAF-FF50-4EA2-8069-29953488AFD4}" srcId="{E83FC350-53F5-4B44-AA03-0368328506A2}" destId="{60FD4067-3C10-4E18-A8B2-C0CFC25A6472}" srcOrd="1" destOrd="0" parTransId="{1A5FCBAF-5118-4580-9D6D-BC3D51CFADBE}" sibTransId="{20C51443-EC40-4B45-99F5-7E1AC3C1148E}"/>
    <dgm:cxn modelId="{27A412AC-781D-4FCE-8FD7-074AC9073654}" type="presOf" srcId="{C8C13EAC-679F-4D5B-A3D0-5DC2151EB22D}" destId="{8B3847CD-DE12-4F6F-B16D-287A9C2DA281}" srcOrd="0" destOrd="2" presId="urn:microsoft.com/office/officeart/2005/8/layout/vList6"/>
    <dgm:cxn modelId="{BC3B83A3-530B-426F-B44D-0ADAFF917741}" srcId="{60FD4067-3C10-4E18-A8B2-C0CFC25A6472}" destId="{CE98B1F5-1A2E-43E2-8767-0C98C1995FF5}" srcOrd="3" destOrd="0" parTransId="{0DDC1C85-E613-4EFC-8E84-B91CF59598C0}" sibTransId="{7AF867BD-FE6C-4E6D-8277-51AC5F563458}"/>
    <dgm:cxn modelId="{43D89B7F-4EB3-45E3-8B15-FB710452D161}" type="presOf" srcId="{16009BB2-33FB-41C0-816E-C8E9204FE0A1}" destId="{8B3847CD-DE12-4F6F-B16D-287A9C2DA281}" srcOrd="0" destOrd="4" presId="urn:microsoft.com/office/officeart/2005/8/layout/vList6"/>
    <dgm:cxn modelId="{C3E91224-2267-48FA-950E-69F5C98647D9}" type="presOf" srcId="{E7989A24-44B0-4037-88C3-13F5705C6EC6}" destId="{90EB684D-21E2-4A59-84FF-852FB4143A30}" srcOrd="0" destOrd="0" presId="urn:microsoft.com/office/officeart/2005/8/layout/vList6"/>
    <dgm:cxn modelId="{8F5A52C0-CE50-40B7-B1A5-797CA596CBC1}" type="presOf" srcId="{60FD4067-3C10-4E18-A8B2-C0CFC25A6472}" destId="{2EA68D77-1F65-42E4-8C5E-664A96E63979}" srcOrd="0" destOrd="0" presId="urn:microsoft.com/office/officeart/2005/8/layout/vList6"/>
    <dgm:cxn modelId="{B6843A1F-4651-432B-865A-015BD991AB0A}" type="presOf" srcId="{0A561E03-3A78-49D4-A495-BAC67791878D}" destId="{8D2EBB5D-45F4-4CA7-8220-A88316A5236F}" srcOrd="0" destOrd="0" presId="urn:microsoft.com/office/officeart/2005/8/layout/vList6"/>
    <dgm:cxn modelId="{43067B5A-B657-4F98-9885-011C2CB4FB90}" type="presOf" srcId="{C105ED8F-D9A0-4FF9-AE18-3AE7766B4FF2}" destId="{8D2EBB5D-45F4-4CA7-8220-A88316A5236F}" srcOrd="0" destOrd="2" presId="urn:microsoft.com/office/officeart/2005/8/layout/vList6"/>
    <dgm:cxn modelId="{C9A5E537-FF4F-46F4-A50F-97017632FEBB}" type="presOf" srcId="{8581AE66-C591-4EAF-9E0C-C79789AE5410}" destId="{8D2EBB5D-45F4-4CA7-8220-A88316A5236F}" srcOrd="0" destOrd="1" presId="urn:microsoft.com/office/officeart/2005/8/layout/vList6"/>
    <dgm:cxn modelId="{CD77DB50-5A2B-4EE2-8EC9-7F7EEA1B2E30}" srcId="{60FD4067-3C10-4E18-A8B2-C0CFC25A6472}" destId="{C835DA1A-392D-4903-90D4-04C1D1C65116}" srcOrd="0" destOrd="0" parTransId="{F2F3DF59-2BD3-44EE-B8BC-46C0C6218DD9}" sibTransId="{429DC156-2831-4EB9-B506-1A4DFA469173}"/>
    <dgm:cxn modelId="{66D94D2B-0428-4309-B4E8-9CBFE5A4D102}" srcId="{60FD4067-3C10-4E18-A8B2-C0CFC25A6472}" destId="{C8C13EAC-679F-4D5B-A3D0-5DC2151EB22D}" srcOrd="2" destOrd="0" parTransId="{24E7F6F3-4DE9-4F32-932B-4C3B2959A0E9}" sibTransId="{A3D7EE42-DF1E-4C27-A3C8-DC4E05C3EE5F}"/>
    <dgm:cxn modelId="{901B1985-280A-4218-8582-747DB2A05C1A}" srcId="{60FD4067-3C10-4E18-A8B2-C0CFC25A6472}" destId="{16009BB2-33FB-41C0-816E-C8E9204FE0A1}" srcOrd="4" destOrd="0" parTransId="{6BCB4DA5-99D7-4EF9-B320-2F865A79F148}" sibTransId="{C8C2230C-05B2-4AFA-B3B6-5A083209276E}"/>
    <dgm:cxn modelId="{2821F76E-E01A-4DA3-A915-2062999B4524}" srcId="{E7989A24-44B0-4037-88C3-13F5705C6EC6}" destId="{C105ED8F-D9A0-4FF9-AE18-3AE7766B4FF2}" srcOrd="2" destOrd="0" parTransId="{8618430B-91D1-4E1D-9072-579EA658820C}" sibTransId="{EDF1F78F-916C-4619-8F53-B02B20673EB3}"/>
    <dgm:cxn modelId="{8F9E4B85-16DA-472B-BC4B-AA5E3A7D6C86}" srcId="{60FD4067-3C10-4E18-A8B2-C0CFC25A6472}" destId="{6AB69650-AA57-48E7-B1EB-ECDD62746722}" srcOrd="1" destOrd="0" parTransId="{330A2614-D3EA-4176-B20F-DF50DCFD74DD}" sibTransId="{8020C5F1-6020-4019-9455-0506BE2E3289}"/>
    <dgm:cxn modelId="{2D983744-87BD-439A-A287-C34D78886C2C}" type="presOf" srcId="{CE98B1F5-1A2E-43E2-8767-0C98C1995FF5}" destId="{8B3847CD-DE12-4F6F-B16D-287A9C2DA281}" srcOrd="0" destOrd="3" presId="urn:microsoft.com/office/officeart/2005/8/layout/vList6"/>
    <dgm:cxn modelId="{265A49D3-ED3E-4106-BBCE-DB6A1B505DC4}" type="presOf" srcId="{E83FC350-53F5-4B44-AA03-0368328506A2}" destId="{DA71C964-1B36-4CFE-8606-2006D8702A9B}" srcOrd="0" destOrd="0" presId="urn:microsoft.com/office/officeart/2005/8/layout/vList6"/>
    <dgm:cxn modelId="{72514523-B0B6-4E84-A0E2-5E6585286B9C}" srcId="{E7989A24-44B0-4037-88C3-13F5705C6EC6}" destId="{8581AE66-C591-4EAF-9E0C-C79789AE5410}" srcOrd="1" destOrd="0" parTransId="{B2FC8208-1DE1-4C94-B883-4ED873B584F8}" sibTransId="{1557DE39-0ADD-4882-8DD3-01CE0B5539C2}"/>
    <dgm:cxn modelId="{22811082-4514-4399-A372-1F23D8657D94}" srcId="{E83FC350-53F5-4B44-AA03-0368328506A2}" destId="{E7989A24-44B0-4037-88C3-13F5705C6EC6}" srcOrd="0" destOrd="0" parTransId="{BB523258-09BC-4180-9773-366CDF7677AB}" sibTransId="{AA6F83FF-CC68-4333-B7A6-3516B581B344}"/>
    <dgm:cxn modelId="{816B0964-CD26-483D-90E0-7654E8E331F0}" type="presParOf" srcId="{DA71C964-1B36-4CFE-8606-2006D8702A9B}" destId="{34C0E468-7A6C-4372-BEFF-9D2A6D91583A}" srcOrd="0" destOrd="0" presId="urn:microsoft.com/office/officeart/2005/8/layout/vList6"/>
    <dgm:cxn modelId="{A1FEC776-9253-4D5A-B555-2C01A40FA085}" type="presParOf" srcId="{34C0E468-7A6C-4372-BEFF-9D2A6D91583A}" destId="{90EB684D-21E2-4A59-84FF-852FB4143A30}" srcOrd="0" destOrd="0" presId="urn:microsoft.com/office/officeart/2005/8/layout/vList6"/>
    <dgm:cxn modelId="{EF3F1F5F-3A71-4E3B-AD75-8508A0238209}" type="presParOf" srcId="{34C0E468-7A6C-4372-BEFF-9D2A6D91583A}" destId="{8D2EBB5D-45F4-4CA7-8220-A88316A5236F}" srcOrd="1" destOrd="0" presId="urn:microsoft.com/office/officeart/2005/8/layout/vList6"/>
    <dgm:cxn modelId="{097E6D37-1995-446B-A47A-E115E6C22228}" type="presParOf" srcId="{DA71C964-1B36-4CFE-8606-2006D8702A9B}" destId="{5B56BF20-E7DA-4FBF-B4EB-F23A6AD11EC5}" srcOrd="1" destOrd="0" presId="urn:microsoft.com/office/officeart/2005/8/layout/vList6"/>
    <dgm:cxn modelId="{7A6BF2BB-EE11-43DD-96B9-6F8849CC2214}" type="presParOf" srcId="{DA71C964-1B36-4CFE-8606-2006D8702A9B}" destId="{A996D051-C466-4FC3-BDAC-5C5287293868}" srcOrd="2" destOrd="0" presId="urn:microsoft.com/office/officeart/2005/8/layout/vList6"/>
    <dgm:cxn modelId="{0D1CCDFF-147E-48C0-90F2-E61EF1B1DB0F}" type="presParOf" srcId="{A996D051-C466-4FC3-BDAC-5C5287293868}" destId="{2EA68D77-1F65-42E4-8C5E-664A96E63979}" srcOrd="0" destOrd="0" presId="urn:microsoft.com/office/officeart/2005/8/layout/vList6"/>
    <dgm:cxn modelId="{A84068E1-1D38-4A62-8C59-891776C46EC3}" type="presParOf" srcId="{A996D051-C466-4FC3-BDAC-5C5287293868}" destId="{8B3847CD-DE12-4F6F-B16D-287A9C2DA281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83FC350-53F5-4B44-AA03-0368328506A2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7989A24-44B0-4037-88C3-13F5705C6EC6}">
      <dgm:prSet phldrT="[Текст]" custT="1"/>
      <dgm:spPr/>
      <dgm:t>
        <a:bodyPr/>
        <a:lstStyle/>
        <a:p>
          <a:pPr algn="l"/>
          <a:r>
            <a:rPr lang="ru-RU" sz="2000" dirty="0" smtClean="0"/>
            <a:t>7. Возможность эффективного ответа российского общества на большие вызовы с учетом взаимодействия человека и природы, человека и технологий, социальных институтов на современном этапе глобального развития, в том числе применяя методы гуманитарных и социальных наук </a:t>
          </a:r>
          <a:endParaRPr lang="ru-RU" sz="2000" dirty="0"/>
        </a:p>
      </dgm:t>
    </dgm:pt>
    <dgm:pt modelId="{BB523258-09BC-4180-9773-366CDF7677AB}" type="parTrans" cxnId="{22811082-4514-4399-A372-1F23D8657D94}">
      <dgm:prSet/>
      <dgm:spPr/>
      <dgm:t>
        <a:bodyPr/>
        <a:lstStyle/>
        <a:p>
          <a:endParaRPr lang="ru-RU"/>
        </a:p>
      </dgm:t>
    </dgm:pt>
    <dgm:pt modelId="{AA6F83FF-CC68-4333-B7A6-3516B581B344}" type="sibTrans" cxnId="{22811082-4514-4399-A372-1F23D8657D94}">
      <dgm:prSet/>
      <dgm:spPr/>
      <dgm:t>
        <a:bodyPr/>
        <a:lstStyle/>
        <a:p>
          <a:endParaRPr lang="ru-RU"/>
        </a:p>
      </dgm:t>
    </dgm:pt>
    <dgm:pt modelId="{EFBA212F-E1D4-4CA1-9C4F-A344CF6B708E}">
      <dgm:prSet phldrT="[Текст]" custT="1"/>
      <dgm:spPr/>
      <dgm:t>
        <a:bodyPr/>
        <a:lstStyle/>
        <a:p>
          <a:r>
            <a:rPr lang="ru-RU" sz="2800" dirty="0" smtClean="0"/>
            <a:t>Ориентированы  результаты по предмету «География», «Обществознание».</a:t>
          </a:r>
          <a:endParaRPr lang="ru-RU" sz="3800" dirty="0"/>
        </a:p>
      </dgm:t>
    </dgm:pt>
    <dgm:pt modelId="{E5EC1ED5-AFA1-49EF-9848-F65C92B208B0}" type="parTrans" cxnId="{F4415DD6-CCA9-41B2-8A48-380763CF3EB4}">
      <dgm:prSet/>
      <dgm:spPr/>
      <dgm:t>
        <a:bodyPr/>
        <a:lstStyle/>
        <a:p>
          <a:endParaRPr lang="ru-RU"/>
        </a:p>
      </dgm:t>
    </dgm:pt>
    <dgm:pt modelId="{99323E20-0442-4970-8193-40DE516C34BA}" type="sibTrans" cxnId="{F4415DD6-CCA9-41B2-8A48-380763CF3EB4}">
      <dgm:prSet/>
      <dgm:spPr/>
      <dgm:t>
        <a:bodyPr/>
        <a:lstStyle/>
        <a:p>
          <a:endParaRPr lang="ru-RU"/>
        </a:p>
      </dgm:t>
    </dgm:pt>
    <dgm:pt modelId="{9ABBC937-E4B2-4F17-B238-BA4514C9F297}">
      <dgm:prSet phldrT="[Текст]" custT="1"/>
      <dgm:spPr/>
      <dgm:t>
        <a:bodyPr/>
        <a:lstStyle/>
        <a:p>
          <a:endParaRPr lang="ru-RU" sz="3800" dirty="0"/>
        </a:p>
      </dgm:t>
    </dgm:pt>
    <dgm:pt modelId="{BC46399F-D9AF-4B63-A36A-4BE8C1E4755D}" type="parTrans" cxnId="{BA2CEFBC-0775-40DF-9280-9DF4779EC375}">
      <dgm:prSet/>
      <dgm:spPr/>
      <dgm:t>
        <a:bodyPr/>
        <a:lstStyle/>
        <a:p>
          <a:endParaRPr lang="ru-RU"/>
        </a:p>
      </dgm:t>
    </dgm:pt>
    <dgm:pt modelId="{34D51B91-557D-4637-B9EB-2DFC6DB80D65}" type="sibTrans" cxnId="{BA2CEFBC-0775-40DF-9280-9DF4779EC375}">
      <dgm:prSet/>
      <dgm:spPr/>
      <dgm:t>
        <a:bodyPr/>
        <a:lstStyle/>
        <a:p>
          <a:endParaRPr lang="ru-RU"/>
        </a:p>
      </dgm:t>
    </dgm:pt>
    <dgm:pt modelId="{DA71C964-1B36-4CFE-8606-2006D8702A9B}" type="pres">
      <dgm:prSet presAssocID="{E83FC350-53F5-4B44-AA03-0368328506A2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  <dgm:pt modelId="{34C0E468-7A6C-4372-BEFF-9D2A6D91583A}" type="pres">
      <dgm:prSet presAssocID="{E7989A24-44B0-4037-88C3-13F5705C6EC6}" presName="linNode" presStyleCnt="0"/>
      <dgm:spPr/>
    </dgm:pt>
    <dgm:pt modelId="{90EB684D-21E2-4A59-84FF-852FB4143A30}" type="pres">
      <dgm:prSet presAssocID="{E7989A24-44B0-4037-88C3-13F5705C6EC6}" presName="parentShp" presStyleLbl="node1" presStyleIdx="0" presStyleCnt="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D2EBB5D-45F4-4CA7-8220-A88316A5236F}" type="pres">
      <dgm:prSet presAssocID="{E7989A24-44B0-4037-88C3-13F5705C6EC6}" presName="childShp" presStyleLbl="bgAccFollowNode1" presStyleIdx="0" presStyleCnt="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B6D3221F-844A-4CD4-A61B-D6A23543AC56}" type="presOf" srcId="{E7989A24-44B0-4037-88C3-13F5705C6EC6}" destId="{90EB684D-21E2-4A59-84FF-852FB4143A30}" srcOrd="0" destOrd="0" presId="urn:microsoft.com/office/officeart/2005/8/layout/vList6"/>
    <dgm:cxn modelId="{F4415DD6-CCA9-41B2-8A48-380763CF3EB4}" srcId="{E7989A24-44B0-4037-88C3-13F5705C6EC6}" destId="{EFBA212F-E1D4-4CA1-9C4F-A344CF6B708E}" srcOrd="1" destOrd="0" parTransId="{E5EC1ED5-AFA1-49EF-9848-F65C92B208B0}" sibTransId="{99323E20-0442-4970-8193-40DE516C34BA}"/>
    <dgm:cxn modelId="{00D2C4F0-8FCD-4A0C-812D-1DFE556DA230}" type="presOf" srcId="{E83FC350-53F5-4B44-AA03-0368328506A2}" destId="{DA71C964-1B36-4CFE-8606-2006D8702A9B}" srcOrd="0" destOrd="0" presId="urn:microsoft.com/office/officeart/2005/8/layout/vList6"/>
    <dgm:cxn modelId="{22811082-4514-4399-A372-1F23D8657D94}" srcId="{E83FC350-53F5-4B44-AA03-0368328506A2}" destId="{E7989A24-44B0-4037-88C3-13F5705C6EC6}" srcOrd="0" destOrd="0" parTransId="{BB523258-09BC-4180-9773-366CDF7677AB}" sibTransId="{AA6F83FF-CC68-4333-B7A6-3516B581B344}"/>
    <dgm:cxn modelId="{BA2CEFBC-0775-40DF-9280-9DF4779EC375}" srcId="{E7989A24-44B0-4037-88C3-13F5705C6EC6}" destId="{9ABBC937-E4B2-4F17-B238-BA4514C9F297}" srcOrd="0" destOrd="0" parTransId="{BC46399F-D9AF-4B63-A36A-4BE8C1E4755D}" sibTransId="{34D51B91-557D-4637-B9EB-2DFC6DB80D65}"/>
    <dgm:cxn modelId="{D2E55720-D013-4761-8A66-26AE1816CCB9}" type="presOf" srcId="{9ABBC937-E4B2-4F17-B238-BA4514C9F297}" destId="{8D2EBB5D-45F4-4CA7-8220-A88316A5236F}" srcOrd="0" destOrd="0" presId="urn:microsoft.com/office/officeart/2005/8/layout/vList6"/>
    <dgm:cxn modelId="{107F0C7A-C870-4C0B-9C33-E04EA46E38F4}" type="presOf" srcId="{EFBA212F-E1D4-4CA1-9C4F-A344CF6B708E}" destId="{8D2EBB5D-45F4-4CA7-8220-A88316A5236F}" srcOrd="0" destOrd="1" presId="urn:microsoft.com/office/officeart/2005/8/layout/vList6"/>
    <dgm:cxn modelId="{F0DE1136-DE12-4F28-AEDD-897F74A7F956}" type="presParOf" srcId="{DA71C964-1B36-4CFE-8606-2006D8702A9B}" destId="{34C0E468-7A6C-4372-BEFF-9D2A6D91583A}" srcOrd="0" destOrd="0" presId="urn:microsoft.com/office/officeart/2005/8/layout/vList6"/>
    <dgm:cxn modelId="{2AE66098-8B4B-451A-A257-6D99A3119F44}" type="presParOf" srcId="{34C0E468-7A6C-4372-BEFF-9D2A6D91583A}" destId="{90EB684D-21E2-4A59-84FF-852FB4143A30}" srcOrd="0" destOrd="0" presId="urn:microsoft.com/office/officeart/2005/8/layout/vList6"/>
    <dgm:cxn modelId="{94B47D91-652B-48C7-9F0A-B73016A1E4C6}" type="presParOf" srcId="{34C0E468-7A6C-4372-BEFF-9D2A6D91583A}" destId="{8D2EBB5D-45F4-4CA7-8220-A88316A5236F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E08C46BC-731B-4B98-AD09-9FD0728F5102}" type="doc">
      <dgm:prSet loTypeId="urn:microsoft.com/office/officeart/2005/8/layout/lProcess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624E8451-77DA-4F8A-992E-79F3AB14B6B2}">
      <dgm:prSet phldrT="[Текст]"/>
      <dgm:spPr/>
      <dgm:t>
        <a:bodyPr/>
        <a:lstStyle/>
        <a:p>
          <a:r>
            <a:rPr lang="ru-RU" dirty="0" smtClean="0"/>
            <a:t>Механизмы вариативности в действующем ФГОС</a:t>
          </a:r>
          <a:endParaRPr lang="ru-RU" dirty="0"/>
        </a:p>
      </dgm:t>
    </dgm:pt>
    <dgm:pt modelId="{4B605763-61EE-4BD4-BA9C-F9C1C132AD5B}" type="parTrans" cxnId="{3C8C73D6-98D5-4C48-AA91-544A619519F5}">
      <dgm:prSet/>
      <dgm:spPr/>
      <dgm:t>
        <a:bodyPr/>
        <a:lstStyle/>
        <a:p>
          <a:endParaRPr lang="ru-RU"/>
        </a:p>
      </dgm:t>
    </dgm:pt>
    <dgm:pt modelId="{DD705D59-92B8-4D30-A9A4-4697B20A3897}" type="sibTrans" cxnId="{3C8C73D6-98D5-4C48-AA91-544A619519F5}">
      <dgm:prSet/>
      <dgm:spPr/>
      <dgm:t>
        <a:bodyPr/>
        <a:lstStyle/>
        <a:p>
          <a:endParaRPr lang="ru-RU"/>
        </a:p>
      </dgm:t>
    </dgm:pt>
    <dgm:pt modelId="{5B0AFECA-434F-4D55-8AE2-DEBCED0F1B46}">
      <dgm:prSet phldrT="[Текст]"/>
      <dgm:spPr/>
      <dgm:t>
        <a:bodyPr/>
        <a:lstStyle/>
        <a:p>
          <a:r>
            <a:rPr lang="ru-RU" dirty="0" smtClean="0"/>
            <a:t>Часть ОП по выбору участников образовательного процесса</a:t>
          </a:r>
          <a:endParaRPr lang="ru-RU" dirty="0"/>
        </a:p>
      </dgm:t>
    </dgm:pt>
    <dgm:pt modelId="{71D21A0F-5B76-4EE2-8A18-AF63F923006A}" type="parTrans" cxnId="{167DAFE3-51AC-4F70-B824-B031FDB74E15}">
      <dgm:prSet/>
      <dgm:spPr/>
      <dgm:t>
        <a:bodyPr/>
        <a:lstStyle/>
        <a:p>
          <a:endParaRPr lang="ru-RU"/>
        </a:p>
      </dgm:t>
    </dgm:pt>
    <dgm:pt modelId="{3051BDDB-D0F5-4F06-A193-7E6993137182}" type="sibTrans" cxnId="{167DAFE3-51AC-4F70-B824-B031FDB74E15}">
      <dgm:prSet/>
      <dgm:spPr/>
      <dgm:t>
        <a:bodyPr/>
        <a:lstStyle/>
        <a:p>
          <a:endParaRPr lang="ru-RU"/>
        </a:p>
      </dgm:t>
    </dgm:pt>
    <dgm:pt modelId="{8E55A864-7503-4E38-97D0-BBC5A58079CC}">
      <dgm:prSet phldrT="[Текст]"/>
      <dgm:spPr/>
      <dgm:t>
        <a:bodyPr/>
        <a:lstStyle/>
        <a:p>
          <a:r>
            <a:rPr lang="ru-RU" dirty="0" smtClean="0"/>
            <a:t>Возможность разработки дифференцированных программ</a:t>
          </a:r>
          <a:endParaRPr lang="ru-RU" dirty="0"/>
        </a:p>
      </dgm:t>
    </dgm:pt>
    <dgm:pt modelId="{7D1E44DA-6A58-4E1E-8829-4E15A7714C70}" type="parTrans" cxnId="{F1FCA23D-D9F0-4B86-A7CD-6AF7FB21AF68}">
      <dgm:prSet/>
      <dgm:spPr/>
      <dgm:t>
        <a:bodyPr/>
        <a:lstStyle/>
        <a:p>
          <a:endParaRPr lang="ru-RU"/>
        </a:p>
      </dgm:t>
    </dgm:pt>
    <dgm:pt modelId="{F0A80216-E37A-4353-BE10-532D411A3358}" type="sibTrans" cxnId="{F1FCA23D-D9F0-4B86-A7CD-6AF7FB21AF68}">
      <dgm:prSet/>
      <dgm:spPr/>
      <dgm:t>
        <a:bodyPr/>
        <a:lstStyle/>
        <a:p>
          <a:endParaRPr lang="ru-RU"/>
        </a:p>
      </dgm:t>
    </dgm:pt>
    <dgm:pt modelId="{39C0A740-5FA0-4A40-A82F-D8B7F2A7677A}">
      <dgm:prSet phldrT="[Текст]"/>
      <dgm:spPr/>
      <dgm:t>
        <a:bodyPr/>
        <a:lstStyle/>
        <a:p>
          <a:r>
            <a:rPr lang="ru-RU" dirty="0" smtClean="0"/>
            <a:t>Механизмы вариативности в проектах ФГОС</a:t>
          </a:r>
          <a:endParaRPr lang="ru-RU" dirty="0"/>
        </a:p>
      </dgm:t>
    </dgm:pt>
    <dgm:pt modelId="{A8C159CC-4293-439B-89EA-89AF6099EBEC}" type="parTrans" cxnId="{7945664B-CAAC-4BFB-866B-31B9C30084EF}">
      <dgm:prSet/>
      <dgm:spPr/>
      <dgm:t>
        <a:bodyPr/>
        <a:lstStyle/>
        <a:p>
          <a:endParaRPr lang="ru-RU"/>
        </a:p>
      </dgm:t>
    </dgm:pt>
    <dgm:pt modelId="{24F53A99-C1BD-46DC-9767-729DE02E4839}" type="sibTrans" cxnId="{7945664B-CAAC-4BFB-866B-31B9C30084EF}">
      <dgm:prSet/>
      <dgm:spPr/>
      <dgm:t>
        <a:bodyPr/>
        <a:lstStyle/>
        <a:p>
          <a:endParaRPr lang="ru-RU"/>
        </a:p>
      </dgm:t>
    </dgm:pt>
    <dgm:pt modelId="{C68A112D-FBB5-428F-A86A-1816D3DA5756}">
      <dgm:prSet phldrT="[Текст]"/>
      <dgm:spPr/>
      <dgm:t>
        <a:bodyPr/>
        <a:lstStyle/>
        <a:p>
          <a:r>
            <a:rPr lang="ru-RU" dirty="0" smtClean="0"/>
            <a:t>Часть ОП по выбору участников образовательного процесса (п.16 ФГОС)</a:t>
          </a:r>
          <a:endParaRPr lang="ru-RU" dirty="0"/>
        </a:p>
      </dgm:t>
    </dgm:pt>
    <dgm:pt modelId="{1A6ACD6B-4767-411C-A79C-A0719E701CE5}" type="parTrans" cxnId="{75626635-89BC-4A2C-AB25-8DC6E8F095AE}">
      <dgm:prSet/>
      <dgm:spPr/>
      <dgm:t>
        <a:bodyPr/>
        <a:lstStyle/>
        <a:p>
          <a:endParaRPr lang="ru-RU"/>
        </a:p>
      </dgm:t>
    </dgm:pt>
    <dgm:pt modelId="{FA18F2F5-CD2B-4E79-B919-98961C4BEBA3}" type="sibTrans" cxnId="{75626635-89BC-4A2C-AB25-8DC6E8F095AE}">
      <dgm:prSet/>
      <dgm:spPr/>
      <dgm:t>
        <a:bodyPr/>
        <a:lstStyle/>
        <a:p>
          <a:endParaRPr lang="ru-RU"/>
        </a:p>
      </dgm:t>
    </dgm:pt>
    <dgm:pt modelId="{AAFC61A8-B34A-4E4A-8CC2-85539FA799F5}">
      <dgm:prSet/>
      <dgm:spPr/>
      <dgm:t>
        <a:bodyPr/>
        <a:lstStyle/>
        <a:p>
          <a:r>
            <a:rPr lang="ru-RU" dirty="0" smtClean="0"/>
            <a:t>Возможность разработки дифференцированных программ. </a:t>
          </a:r>
          <a:endParaRPr lang="ru-RU" dirty="0"/>
        </a:p>
      </dgm:t>
    </dgm:pt>
    <dgm:pt modelId="{EF632FD2-DBBF-4896-9878-07B2C7946B45}" type="parTrans" cxnId="{91CB7535-AC7D-4949-A20E-DBE70BD06912}">
      <dgm:prSet/>
      <dgm:spPr/>
      <dgm:t>
        <a:bodyPr/>
        <a:lstStyle/>
        <a:p>
          <a:endParaRPr lang="ru-RU"/>
        </a:p>
      </dgm:t>
    </dgm:pt>
    <dgm:pt modelId="{34263427-72EB-460D-8106-6D3FDEBEC53B}" type="sibTrans" cxnId="{91CB7535-AC7D-4949-A20E-DBE70BD06912}">
      <dgm:prSet/>
      <dgm:spPr/>
      <dgm:t>
        <a:bodyPr/>
        <a:lstStyle/>
        <a:p>
          <a:endParaRPr lang="ru-RU"/>
        </a:p>
      </dgm:t>
    </dgm:pt>
    <dgm:pt modelId="{8F464C25-2BA5-4739-99B1-8B47C44250E1}">
      <dgm:prSet/>
      <dgm:spPr/>
      <dgm:t>
        <a:bodyPr/>
        <a:lstStyle/>
        <a:p>
          <a:r>
            <a:rPr lang="ru-RU" dirty="0" smtClean="0"/>
            <a:t>Возможность разработки и реализации индивидуальных учебных планов</a:t>
          </a:r>
          <a:endParaRPr lang="ru-RU" dirty="0"/>
        </a:p>
      </dgm:t>
    </dgm:pt>
    <dgm:pt modelId="{9F64F2BD-1DE3-4AC6-9392-BBC632FA0ABD}" type="parTrans" cxnId="{5B34B676-2AE8-42D0-B2C4-C197378F9970}">
      <dgm:prSet/>
      <dgm:spPr/>
      <dgm:t>
        <a:bodyPr/>
        <a:lstStyle/>
        <a:p>
          <a:endParaRPr lang="ru-RU"/>
        </a:p>
      </dgm:t>
    </dgm:pt>
    <dgm:pt modelId="{D46365A0-67A6-4069-B8F9-31E17DD55B98}" type="sibTrans" cxnId="{5B34B676-2AE8-42D0-B2C4-C197378F9970}">
      <dgm:prSet/>
      <dgm:spPr/>
      <dgm:t>
        <a:bodyPr/>
        <a:lstStyle/>
        <a:p>
          <a:endParaRPr lang="ru-RU"/>
        </a:p>
      </dgm:t>
    </dgm:pt>
    <dgm:pt modelId="{78B86A04-2E2C-434A-88FB-7D5449D2E655}">
      <dgm:prSet/>
      <dgm:spPr/>
      <dgm:t>
        <a:bodyPr/>
        <a:lstStyle/>
        <a:p>
          <a:r>
            <a:rPr lang="ru-RU" dirty="0" smtClean="0"/>
            <a:t>Возможность разработки и реализации индивидуальных учебных планов (п.8)</a:t>
          </a:r>
          <a:endParaRPr lang="ru-RU" dirty="0"/>
        </a:p>
      </dgm:t>
    </dgm:pt>
    <dgm:pt modelId="{34BA0CA5-5645-4460-B500-0EF9643F239A}" type="parTrans" cxnId="{AD3368DF-67DF-4EB4-9EC8-F17A1CC5D97D}">
      <dgm:prSet/>
      <dgm:spPr/>
      <dgm:t>
        <a:bodyPr/>
        <a:lstStyle/>
        <a:p>
          <a:endParaRPr lang="ru-RU"/>
        </a:p>
      </dgm:t>
    </dgm:pt>
    <dgm:pt modelId="{7590D389-BE8A-48F0-BD75-3B0B0CAAB0CF}" type="sibTrans" cxnId="{AD3368DF-67DF-4EB4-9EC8-F17A1CC5D97D}">
      <dgm:prSet/>
      <dgm:spPr/>
      <dgm:t>
        <a:bodyPr/>
        <a:lstStyle/>
        <a:p>
          <a:endParaRPr lang="ru-RU"/>
        </a:p>
      </dgm:t>
    </dgm:pt>
    <dgm:pt modelId="{223FAFEF-5A14-4E6C-9820-B0BE0AA9F1C9}">
      <dgm:prSet/>
      <dgm:spPr/>
      <dgm:t>
        <a:bodyPr/>
        <a:lstStyle/>
        <a:p>
          <a:r>
            <a:rPr lang="ru-RU" dirty="0" smtClean="0"/>
            <a:t>Произвольный характер выполнения требований к предметным результатам для инновационных школ (п.12)</a:t>
          </a:r>
          <a:endParaRPr lang="ru-RU" dirty="0"/>
        </a:p>
      </dgm:t>
    </dgm:pt>
    <dgm:pt modelId="{85763050-6EC2-4CD8-A81E-4919D7FC0C1A}" type="parTrans" cxnId="{8D14B4A1-1925-4074-9DA1-83859664556B}">
      <dgm:prSet/>
      <dgm:spPr/>
      <dgm:t>
        <a:bodyPr/>
        <a:lstStyle/>
        <a:p>
          <a:endParaRPr lang="ru-RU"/>
        </a:p>
      </dgm:t>
    </dgm:pt>
    <dgm:pt modelId="{C67C31B3-959B-4239-807E-23552DD93F9F}" type="sibTrans" cxnId="{8D14B4A1-1925-4074-9DA1-83859664556B}">
      <dgm:prSet/>
      <dgm:spPr/>
      <dgm:t>
        <a:bodyPr/>
        <a:lstStyle/>
        <a:p>
          <a:endParaRPr lang="ru-RU"/>
        </a:p>
      </dgm:t>
    </dgm:pt>
    <dgm:pt modelId="{7A5D5ECB-1E0C-48FC-B863-0DFA820B7E79}" type="pres">
      <dgm:prSet presAssocID="{E08C46BC-731B-4B98-AD09-9FD0728F5102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9403097-89A3-4BF8-BDA3-AE086E68493A}" type="pres">
      <dgm:prSet presAssocID="{624E8451-77DA-4F8A-992E-79F3AB14B6B2}" presName="vertFlow" presStyleCnt="0"/>
      <dgm:spPr/>
    </dgm:pt>
    <dgm:pt modelId="{D8D43DF2-EDD6-444E-8E4D-DFFBACDECAFD}" type="pres">
      <dgm:prSet presAssocID="{624E8451-77DA-4F8A-992E-79F3AB14B6B2}" presName="header" presStyleLbl="node1" presStyleIdx="0" presStyleCnt="2"/>
      <dgm:spPr/>
      <dgm:t>
        <a:bodyPr/>
        <a:lstStyle/>
        <a:p>
          <a:endParaRPr lang="ru-RU"/>
        </a:p>
      </dgm:t>
    </dgm:pt>
    <dgm:pt modelId="{26A86736-7516-4024-8155-9E69F690D499}" type="pres">
      <dgm:prSet presAssocID="{71D21A0F-5B76-4EE2-8A18-AF63F923006A}" presName="parTrans" presStyleLbl="sibTrans2D1" presStyleIdx="0" presStyleCnt="7"/>
      <dgm:spPr/>
      <dgm:t>
        <a:bodyPr/>
        <a:lstStyle/>
        <a:p>
          <a:endParaRPr lang="ru-RU"/>
        </a:p>
      </dgm:t>
    </dgm:pt>
    <dgm:pt modelId="{C8688EB3-F920-4DC6-8674-72A637D29B1D}" type="pres">
      <dgm:prSet presAssocID="{5B0AFECA-434F-4D55-8AE2-DEBCED0F1B46}" presName="child" presStyleLbl="alignAccFollowNode1" presStyleIdx="0" presStyleCnt="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9235C79-6F1B-43F9-9ED3-1BF9C9ED9D8C}" type="pres">
      <dgm:prSet presAssocID="{3051BDDB-D0F5-4F06-A193-7E6993137182}" presName="sibTrans" presStyleLbl="sibTrans2D1" presStyleIdx="1" presStyleCnt="7"/>
      <dgm:spPr/>
      <dgm:t>
        <a:bodyPr/>
        <a:lstStyle/>
        <a:p>
          <a:endParaRPr lang="ru-RU"/>
        </a:p>
      </dgm:t>
    </dgm:pt>
    <dgm:pt modelId="{E89E9684-ADC8-4025-ADBA-D906441CA4E9}" type="pres">
      <dgm:prSet presAssocID="{8E55A864-7503-4E38-97D0-BBC5A58079CC}" presName="child" presStyleLbl="alignAccFollowNode1" presStyleIdx="1" presStyleCnt="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70BD726-01C9-4EAC-A1AD-33E4C21CE40F}" type="pres">
      <dgm:prSet presAssocID="{F0A80216-E37A-4353-BE10-532D411A3358}" presName="sibTrans" presStyleLbl="sibTrans2D1" presStyleIdx="2" presStyleCnt="7"/>
      <dgm:spPr/>
      <dgm:t>
        <a:bodyPr/>
        <a:lstStyle/>
        <a:p>
          <a:endParaRPr lang="ru-RU"/>
        </a:p>
      </dgm:t>
    </dgm:pt>
    <dgm:pt modelId="{0B7B8D91-30FA-45B6-A930-61B4A1AAE962}" type="pres">
      <dgm:prSet presAssocID="{8F464C25-2BA5-4739-99B1-8B47C44250E1}" presName="child" presStyleLbl="alignAccFollowNode1" presStyleIdx="2" presStyleCnt="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0170AB7-E662-4530-B69F-B859C4A673E0}" type="pres">
      <dgm:prSet presAssocID="{624E8451-77DA-4F8A-992E-79F3AB14B6B2}" presName="hSp" presStyleCnt="0"/>
      <dgm:spPr/>
    </dgm:pt>
    <dgm:pt modelId="{C9839BA4-3180-4752-926B-CC5CD48A8076}" type="pres">
      <dgm:prSet presAssocID="{39C0A740-5FA0-4A40-A82F-D8B7F2A7677A}" presName="vertFlow" presStyleCnt="0"/>
      <dgm:spPr/>
    </dgm:pt>
    <dgm:pt modelId="{CE2D6349-3216-4100-AC6F-F2A55FF1C8DE}" type="pres">
      <dgm:prSet presAssocID="{39C0A740-5FA0-4A40-A82F-D8B7F2A7677A}" presName="header" presStyleLbl="node1" presStyleIdx="1" presStyleCnt="2"/>
      <dgm:spPr/>
      <dgm:t>
        <a:bodyPr/>
        <a:lstStyle/>
        <a:p>
          <a:endParaRPr lang="ru-RU"/>
        </a:p>
      </dgm:t>
    </dgm:pt>
    <dgm:pt modelId="{5DF236B7-9D9F-4D4B-9A63-3FFAF9552DE2}" type="pres">
      <dgm:prSet presAssocID="{1A6ACD6B-4767-411C-A79C-A0719E701CE5}" presName="parTrans" presStyleLbl="sibTrans2D1" presStyleIdx="3" presStyleCnt="7"/>
      <dgm:spPr/>
      <dgm:t>
        <a:bodyPr/>
        <a:lstStyle/>
        <a:p>
          <a:endParaRPr lang="ru-RU"/>
        </a:p>
      </dgm:t>
    </dgm:pt>
    <dgm:pt modelId="{5D62096E-10C7-4D7A-B6D0-38F692837C2D}" type="pres">
      <dgm:prSet presAssocID="{C68A112D-FBB5-428F-A86A-1816D3DA5756}" presName="child" presStyleLbl="alignAccFollowNode1" presStyleIdx="3" presStyleCnt="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ED649E6-C7FE-43F6-89AF-D0C9DBB46D8B}" type="pres">
      <dgm:prSet presAssocID="{FA18F2F5-CD2B-4E79-B919-98961C4BEBA3}" presName="sibTrans" presStyleLbl="sibTrans2D1" presStyleIdx="4" presStyleCnt="7"/>
      <dgm:spPr/>
      <dgm:t>
        <a:bodyPr/>
        <a:lstStyle/>
        <a:p>
          <a:endParaRPr lang="ru-RU"/>
        </a:p>
      </dgm:t>
    </dgm:pt>
    <dgm:pt modelId="{3AA6B682-AA27-484F-832C-847CFB3A4D9C}" type="pres">
      <dgm:prSet presAssocID="{AAFC61A8-B34A-4E4A-8CC2-85539FA799F5}" presName="child" presStyleLbl="alignAccFollowNode1" presStyleIdx="4" presStyleCnt="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F0147D89-06D0-4322-81BB-A4B663A3F211}" type="pres">
      <dgm:prSet presAssocID="{34263427-72EB-460D-8106-6D3FDEBEC53B}" presName="sibTrans" presStyleLbl="sibTrans2D1" presStyleIdx="5" presStyleCnt="7"/>
      <dgm:spPr/>
      <dgm:t>
        <a:bodyPr/>
        <a:lstStyle/>
        <a:p>
          <a:endParaRPr lang="ru-RU"/>
        </a:p>
      </dgm:t>
    </dgm:pt>
    <dgm:pt modelId="{E553FC62-3150-4FB9-8644-00FEDF22E577}" type="pres">
      <dgm:prSet presAssocID="{78B86A04-2E2C-434A-88FB-7D5449D2E655}" presName="child" presStyleLbl="alignAccFollowNode1" presStyleIdx="5" presStyleCnt="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EB4C946-CDA0-40D8-9E11-CB4EEC59CB8F}" type="pres">
      <dgm:prSet presAssocID="{7590D389-BE8A-48F0-BD75-3B0B0CAAB0CF}" presName="sibTrans" presStyleLbl="sibTrans2D1" presStyleIdx="6" presStyleCnt="7"/>
      <dgm:spPr/>
      <dgm:t>
        <a:bodyPr/>
        <a:lstStyle/>
        <a:p>
          <a:endParaRPr lang="ru-RU"/>
        </a:p>
      </dgm:t>
    </dgm:pt>
    <dgm:pt modelId="{400AB3F6-3A97-460E-8069-9902A8F969BB}" type="pres">
      <dgm:prSet presAssocID="{223FAFEF-5A14-4E6C-9820-B0BE0AA9F1C9}" presName="child" presStyleLbl="alignAccFollowNode1" presStyleIdx="6" presStyleCnt="7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A7AF80A1-DF7C-48B0-A8EA-C829C57C08A2}" type="presOf" srcId="{5B0AFECA-434F-4D55-8AE2-DEBCED0F1B46}" destId="{C8688EB3-F920-4DC6-8674-72A637D29B1D}" srcOrd="0" destOrd="0" presId="urn:microsoft.com/office/officeart/2005/8/layout/lProcess1"/>
    <dgm:cxn modelId="{8D14B4A1-1925-4074-9DA1-83859664556B}" srcId="{39C0A740-5FA0-4A40-A82F-D8B7F2A7677A}" destId="{223FAFEF-5A14-4E6C-9820-B0BE0AA9F1C9}" srcOrd="3" destOrd="0" parTransId="{85763050-6EC2-4CD8-A81E-4919D7FC0C1A}" sibTransId="{C67C31B3-959B-4239-807E-23552DD93F9F}"/>
    <dgm:cxn modelId="{2314E610-CD32-440A-A421-7CD168831927}" type="presOf" srcId="{7590D389-BE8A-48F0-BD75-3B0B0CAAB0CF}" destId="{8EB4C946-CDA0-40D8-9E11-CB4EEC59CB8F}" srcOrd="0" destOrd="0" presId="urn:microsoft.com/office/officeart/2005/8/layout/lProcess1"/>
    <dgm:cxn modelId="{56DCB17C-00E8-4934-B8B7-7A0316BA88A3}" type="presOf" srcId="{E08C46BC-731B-4B98-AD09-9FD0728F5102}" destId="{7A5D5ECB-1E0C-48FC-B863-0DFA820B7E79}" srcOrd="0" destOrd="0" presId="urn:microsoft.com/office/officeart/2005/8/layout/lProcess1"/>
    <dgm:cxn modelId="{007F33A0-584D-4EEB-996F-1E979324C4B2}" type="presOf" srcId="{AAFC61A8-B34A-4E4A-8CC2-85539FA799F5}" destId="{3AA6B682-AA27-484F-832C-847CFB3A4D9C}" srcOrd="0" destOrd="0" presId="urn:microsoft.com/office/officeart/2005/8/layout/lProcess1"/>
    <dgm:cxn modelId="{5B34B676-2AE8-42D0-B2C4-C197378F9970}" srcId="{624E8451-77DA-4F8A-992E-79F3AB14B6B2}" destId="{8F464C25-2BA5-4739-99B1-8B47C44250E1}" srcOrd="2" destOrd="0" parTransId="{9F64F2BD-1DE3-4AC6-9392-BBC632FA0ABD}" sibTransId="{D46365A0-67A6-4069-B8F9-31E17DD55B98}"/>
    <dgm:cxn modelId="{36E942CC-23BF-489B-97F1-75A3BD9703C4}" type="presOf" srcId="{8E55A864-7503-4E38-97D0-BBC5A58079CC}" destId="{E89E9684-ADC8-4025-ADBA-D906441CA4E9}" srcOrd="0" destOrd="0" presId="urn:microsoft.com/office/officeart/2005/8/layout/lProcess1"/>
    <dgm:cxn modelId="{88D63B14-435A-431E-ADD7-60BBC26D706F}" type="presOf" srcId="{624E8451-77DA-4F8A-992E-79F3AB14B6B2}" destId="{D8D43DF2-EDD6-444E-8E4D-DFFBACDECAFD}" srcOrd="0" destOrd="0" presId="urn:microsoft.com/office/officeart/2005/8/layout/lProcess1"/>
    <dgm:cxn modelId="{2FDFFB82-3FD9-402A-8F1D-7704AA00EEDE}" type="presOf" srcId="{34263427-72EB-460D-8106-6D3FDEBEC53B}" destId="{F0147D89-06D0-4322-81BB-A4B663A3F211}" srcOrd="0" destOrd="0" presId="urn:microsoft.com/office/officeart/2005/8/layout/lProcess1"/>
    <dgm:cxn modelId="{C88D3BE2-8CF2-43C8-AA70-91C36F4457F3}" type="presOf" srcId="{FA18F2F5-CD2B-4E79-B919-98961C4BEBA3}" destId="{1ED649E6-C7FE-43F6-89AF-D0C9DBB46D8B}" srcOrd="0" destOrd="0" presId="urn:microsoft.com/office/officeart/2005/8/layout/lProcess1"/>
    <dgm:cxn modelId="{3D96DF60-0476-4857-AFEA-85445FFF8E57}" type="presOf" srcId="{39C0A740-5FA0-4A40-A82F-D8B7F2A7677A}" destId="{CE2D6349-3216-4100-AC6F-F2A55FF1C8DE}" srcOrd="0" destOrd="0" presId="urn:microsoft.com/office/officeart/2005/8/layout/lProcess1"/>
    <dgm:cxn modelId="{F1FCA23D-D9F0-4B86-A7CD-6AF7FB21AF68}" srcId="{624E8451-77DA-4F8A-992E-79F3AB14B6B2}" destId="{8E55A864-7503-4E38-97D0-BBC5A58079CC}" srcOrd="1" destOrd="0" parTransId="{7D1E44DA-6A58-4E1E-8829-4E15A7714C70}" sibTransId="{F0A80216-E37A-4353-BE10-532D411A3358}"/>
    <dgm:cxn modelId="{3C8C73D6-98D5-4C48-AA91-544A619519F5}" srcId="{E08C46BC-731B-4B98-AD09-9FD0728F5102}" destId="{624E8451-77DA-4F8A-992E-79F3AB14B6B2}" srcOrd="0" destOrd="0" parTransId="{4B605763-61EE-4BD4-BA9C-F9C1C132AD5B}" sibTransId="{DD705D59-92B8-4D30-A9A4-4697B20A3897}"/>
    <dgm:cxn modelId="{2DE3FF1B-A173-4CA9-8981-EAD983B215CC}" type="presOf" srcId="{C68A112D-FBB5-428F-A86A-1816D3DA5756}" destId="{5D62096E-10C7-4D7A-B6D0-38F692837C2D}" srcOrd="0" destOrd="0" presId="urn:microsoft.com/office/officeart/2005/8/layout/lProcess1"/>
    <dgm:cxn modelId="{2E2C37C3-3F11-4497-9575-4FE06C3407B5}" type="presOf" srcId="{78B86A04-2E2C-434A-88FB-7D5449D2E655}" destId="{E553FC62-3150-4FB9-8644-00FEDF22E577}" srcOrd="0" destOrd="0" presId="urn:microsoft.com/office/officeart/2005/8/layout/lProcess1"/>
    <dgm:cxn modelId="{0CBF67F8-F9EE-4D59-AA53-265D177EC930}" type="presOf" srcId="{3051BDDB-D0F5-4F06-A193-7E6993137182}" destId="{79235C79-6F1B-43F9-9ED3-1BF9C9ED9D8C}" srcOrd="0" destOrd="0" presId="urn:microsoft.com/office/officeart/2005/8/layout/lProcess1"/>
    <dgm:cxn modelId="{278D74DF-323A-40C1-BB42-44F15273ABD7}" type="presOf" srcId="{8F464C25-2BA5-4739-99B1-8B47C44250E1}" destId="{0B7B8D91-30FA-45B6-A930-61B4A1AAE962}" srcOrd="0" destOrd="0" presId="urn:microsoft.com/office/officeart/2005/8/layout/lProcess1"/>
    <dgm:cxn modelId="{1D8D50F4-A8BE-4016-83C5-1FDF715EE85B}" type="presOf" srcId="{223FAFEF-5A14-4E6C-9820-B0BE0AA9F1C9}" destId="{400AB3F6-3A97-460E-8069-9902A8F969BB}" srcOrd="0" destOrd="0" presId="urn:microsoft.com/office/officeart/2005/8/layout/lProcess1"/>
    <dgm:cxn modelId="{167DAFE3-51AC-4F70-B824-B031FDB74E15}" srcId="{624E8451-77DA-4F8A-992E-79F3AB14B6B2}" destId="{5B0AFECA-434F-4D55-8AE2-DEBCED0F1B46}" srcOrd="0" destOrd="0" parTransId="{71D21A0F-5B76-4EE2-8A18-AF63F923006A}" sibTransId="{3051BDDB-D0F5-4F06-A193-7E6993137182}"/>
    <dgm:cxn modelId="{91CB7535-AC7D-4949-A20E-DBE70BD06912}" srcId="{39C0A740-5FA0-4A40-A82F-D8B7F2A7677A}" destId="{AAFC61A8-B34A-4E4A-8CC2-85539FA799F5}" srcOrd="1" destOrd="0" parTransId="{EF632FD2-DBBF-4896-9878-07B2C7946B45}" sibTransId="{34263427-72EB-460D-8106-6D3FDEBEC53B}"/>
    <dgm:cxn modelId="{75626635-89BC-4A2C-AB25-8DC6E8F095AE}" srcId="{39C0A740-5FA0-4A40-A82F-D8B7F2A7677A}" destId="{C68A112D-FBB5-428F-A86A-1816D3DA5756}" srcOrd="0" destOrd="0" parTransId="{1A6ACD6B-4767-411C-A79C-A0719E701CE5}" sibTransId="{FA18F2F5-CD2B-4E79-B919-98961C4BEBA3}"/>
    <dgm:cxn modelId="{AE7C51C0-7CB3-40FA-B7F1-23DD02A181A3}" type="presOf" srcId="{1A6ACD6B-4767-411C-A79C-A0719E701CE5}" destId="{5DF236B7-9D9F-4D4B-9A63-3FFAF9552DE2}" srcOrd="0" destOrd="0" presId="urn:microsoft.com/office/officeart/2005/8/layout/lProcess1"/>
    <dgm:cxn modelId="{AD3368DF-67DF-4EB4-9EC8-F17A1CC5D97D}" srcId="{39C0A740-5FA0-4A40-A82F-D8B7F2A7677A}" destId="{78B86A04-2E2C-434A-88FB-7D5449D2E655}" srcOrd="2" destOrd="0" parTransId="{34BA0CA5-5645-4460-B500-0EF9643F239A}" sibTransId="{7590D389-BE8A-48F0-BD75-3B0B0CAAB0CF}"/>
    <dgm:cxn modelId="{7945664B-CAAC-4BFB-866B-31B9C30084EF}" srcId="{E08C46BC-731B-4B98-AD09-9FD0728F5102}" destId="{39C0A740-5FA0-4A40-A82F-D8B7F2A7677A}" srcOrd="1" destOrd="0" parTransId="{A8C159CC-4293-439B-89EA-89AF6099EBEC}" sibTransId="{24F53A99-C1BD-46DC-9767-729DE02E4839}"/>
    <dgm:cxn modelId="{F43F7CB6-2061-4982-BFCD-F1A5A0F160C3}" type="presOf" srcId="{F0A80216-E37A-4353-BE10-532D411A3358}" destId="{570BD726-01C9-4EAC-A1AD-33E4C21CE40F}" srcOrd="0" destOrd="0" presId="urn:microsoft.com/office/officeart/2005/8/layout/lProcess1"/>
    <dgm:cxn modelId="{1656C433-78DB-4E9B-9234-275F6C75EEE7}" type="presOf" srcId="{71D21A0F-5B76-4EE2-8A18-AF63F923006A}" destId="{26A86736-7516-4024-8155-9E69F690D499}" srcOrd="0" destOrd="0" presId="urn:microsoft.com/office/officeart/2005/8/layout/lProcess1"/>
    <dgm:cxn modelId="{025C29AA-95DD-451E-9F11-A300FB94302A}" type="presParOf" srcId="{7A5D5ECB-1E0C-48FC-B863-0DFA820B7E79}" destId="{09403097-89A3-4BF8-BDA3-AE086E68493A}" srcOrd="0" destOrd="0" presId="urn:microsoft.com/office/officeart/2005/8/layout/lProcess1"/>
    <dgm:cxn modelId="{6F49A2B4-E260-468B-BAC9-063C80E2FF92}" type="presParOf" srcId="{09403097-89A3-4BF8-BDA3-AE086E68493A}" destId="{D8D43DF2-EDD6-444E-8E4D-DFFBACDECAFD}" srcOrd="0" destOrd="0" presId="urn:microsoft.com/office/officeart/2005/8/layout/lProcess1"/>
    <dgm:cxn modelId="{FA4EA7F8-E8A6-4F52-B0CD-5A166F3D2953}" type="presParOf" srcId="{09403097-89A3-4BF8-BDA3-AE086E68493A}" destId="{26A86736-7516-4024-8155-9E69F690D499}" srcOrd="1" destOrd="0" presId="urn:microsoft.com/office/officeart/2005/8/layout/lProcess1"/>
    <dgm:cxn modelId="{D2A3E837-1CCB-449D-BB08-63FFB504AF4A}" type="presParOf" srcId="{09403097-89A3-4BF8-BDA3-AE086E68493A}" destId="{C8688EB3-F920-4DC6-8674-72A637D29B1D}" srcOrd="2" destOrd="0" presId="urn:microsoft.com/office/officeart/2005/8/layout/lProcess1"/>
    <dgm:cxn modelId="{864DA0A2-7D1B-494D-B1A4-11CD057AAFAC}" type="presParOf" srcId="{09403097-89A3-4BF8-BDA3-AE086E68493A}" destId="{79235C79-6F1B-43F9-9ED3-1BF9C9ED9D8C}" srcOrd="3" destOrd="0" presId="urn:microsoft.com/office/officeart/2005/8/layout/lProcess1"/>
    <dgm:cxn modelId="{AB402123-D23A-46BB-A7A9-ACFCA5F5798C}" type="presParOf" srcId="{09403097-89A3-4BF8-BDA3-AE086E68493A}" destId="{E89E9684-ADC8-4025-ADBA-D906441CA4E9}" srcOrd="4" destOrd="0" presId="urn:microsoft.com/office/officeart/2005/8/layout/lProcess1"/>
    <dgm:cxn modelId="{F4FBC8B4-DC44-4571-8A94-1419CA707BA0}" type="presParOf" srcId="{09403097-89A3-4BF8-BDA3-AE086E68493A}" destId="{570BD726-01C9-4EAC-A1AD-33E4C21CE40F}" srcOrd="5" destOrd="0" presId="urn:microsoft.com/office/officeart/2005/8/layout/lProcess1"/>
    <dgm:cxn modelId="{EE305108-19B6-44F1-B1AF-4E62FA33A5B8}" type="presParOf" srcId="{09403097-89A3-4BF8-BDA3-AE086E68493A}" destId="{0B7B8D91-30FA-45B6-A930-61B4A1AAE962}" srcOrd="6" destOrd="0" presId="urn:microsoft.com/office/officeart/2005/8/layout/lProcess1"/>
    <dgm:cxn modelId="{AE8A0D7B-46F4-4F11-ADC5-D5BC237AA48D}" type="presParOf" srcId="{7A5D5ECB-1E0C-48FC-B863-0DFA820B7E79}" destId="{60170AB7-E662-4530-B69F-B859C4A673E0}" srcOrd="1" destOrd="0" presId="urn:microsoft.com/office/officeart/2005/8/layout/lProcess1"/>
    <dgm:cxn modelId="{154FC703-3D72-419F-975B-86F4A9AFDDA0}" type="presParOf" srcId="{7A5D5ECB-1E0C-48FC-B863-0DFA820B7E79}" destId="{C9839BA4-3180-4752-926B-CC5CD48A8076}" srcOrd="2" destOrd="0" presId="urn:microsoft.com/office/officeart/2005/8/layout/lProcess1"/>
    <dgm:cxn modelId="{0E4D53D6-EB13-4C45-9BFC-B27585FB2EE9}" type="presParOf" srcId="{C9839BA4-3180-4752-926B-CC5CD48A8076}" destId="{CE2D6349-3216-4100-AC6F-F2A55FF1C8DE}" srcOrd="0" destOrd="0" presId="urn:microsoft.com/office/officeart/2005/8/layout/lProcess1"/>
    <dgm:cxn modelId="{12993D84-DA86-4428-9481-ED1FF0B8BE9D}" type="presParOf" srcId="{C9839BA4-3180-4752-926B-CC5CD48A8076}" destId="{5DF236B7-9D9F-4D4B-9A63-3FFAF9552DE2}" srcOrd="1" destOrd="0" presId="urn:microsoft.com/office/officeart/2005/8/layout/lProcess1"/>
    <dgm:cxn modelId="{31913588-A275-4B1A-876B-C2F894EDBFC5}" type="presParOf" srcId="{C9839BA4-3180-4752-926B-CC5CD48A8076}" destId="{5D62096E-10C7-4D7A-B6D0-38F692837C2D}" srcOrd="2" destOrd="0" presId="urn:microsoft.com/office/officeart/2005/8/layout/lProcess1"/>
    <dgm:cxn modelId="{49EA0D53-8676-4D93-8415-B67CAC0C44E2}" type="presParOf" srcId="{C9839BA4-3180-4752-926B-CC5CD48A8076}" destId="{1ED649E6-C7FE-43F6-89AF-D0C9DBB46D8B}" srcOrd="3" destOrd="0" presId="urn:microsoft.com/office/officeart/2005/8/layout/lProcess1"/>
    <dgm:cxn modelId="{4F3DD93F-5C54-48CE-83D2-C337E10C66CD}" type="presParOf" srcId="{C9839BA4-3180-4752-926B-CC5CD48A8076}" destId="{3AA6B682-AA27-484F-832C-847CFB3A4D9C}" srcOrd="4" destOrd="0" presId="urn:microsoft.com/office/officeart/2005/8/layout/lProcess1"/>
    <dgm:cxn modelId="{43FB6F2B-A78A-4E81-8412-A289E80920FA}" type="presParOf" srcId="{C9839BA4-3180-4752-926B-CC5CD48A8076}" destId="{F0147D89-06D0-4322-81BB-A4B663A3F211}" srcOrd="5" destOrd="0" presId="urn:microsoft.com/office/officeart/2005/8/layout/lProcess1"/>
    <dgm:cxn modelId="{0173ED0C-9234-4BB4-948E-9025BA89B524}" type="presParOf" srcId="{C9839BA4-3180-4752-926B-CC5CD48A8076}" destId="{E553FC62-3150-4FB9-8644-00FEDF22E577}" srcOrd="6" destOrd="0" presId="urn:microsoft.com/office/officeart/2005/8/layout/lProcess1"/>
    <dgm:cxn modelId="{56423E8A-2617-4F17-9D56-A88CB65105AC}" type="presParOf" srcId="{C9839BA4-3180-4752-926B-CC5CD48A8076}" destId="{8EB4C946-CDA0-40D8-9E11-CB4EEC59CB8F}" srcOrd="7" destOrd="0" presId="urn:microsoft.com/office/officeart/2005/8/layout/lProcess1"/>
    <dgm:cxn modelId="{A4A189E1-95D0-4EC8-AF41-F37220C24EB3}" type="presParOf" srcId="{C9839BA4-3180-4752-926B-CC5CD48A8076}" destId="{400AB3F6-3A97-460E-8069-9902A8F969BB}" srcOrd="8" destOrd="0" presId="urn:microsoft.com/office/officeart/2005/8/layout/lProcess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BCB6116D-E086-447D-97C5-7E00DCC718A4}" type="doc">
      <dgm:prSet loTypeId="urn:microsoft.com/office/officeart/2005/8/layout/radial5" loCatId="relationship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RU"/>
        </a:p>
      </dgm:t>
    </dgm:pt>
    <dgm:pt modelId="{967D9A1A-3FD9-476F-AA52-DD7F39DCB6D8}">
      <dgm:prSet phldrT="[Текст]"/>
      <dgm:spPr/>
      <dgm:t>
        <a:bodyPr/>
        <a:lstStyle/>
        <a:p>
          <a:r>
            <a:rPr lang="ru-RU" b="1" u="sng" dirty="0" smtClean="0"/>
            <a:t>Проектная</a:t>
          </a:r>
        </a:p>
        <a:p>
          <a:r>
            <a:rPr lang="ru-RU" b="1" u="sng" dirty="0" smtClean="0"/>
            <a:t>деятельность</a:t>
          </a:r>
          <a:endParaRPr lang="ru-RU" b="1" u="sng" dirty="0"/>
        </a:p>
      </dgm:t>
    </dgm:pt>
    <dgm:pt modelId="{E1807C20-F0B9-4D6F-B117-775653E969DE}" type="parTrans" cxnId="{2300D142-3CA1-47CC-B402-435FB0D600B5}">
      <dgm:prSet/>
      <dgm:spPr/>
      <dgm:t>
        <a:bodyPr/>
        <a:lstStyle/>
        <a:p>
          <a:endParaRPr lang="ru-RU"/>
        </a:p>
      </dgm:t>
    </dgm:pt>
    <dgm:pt modelId="{3485DECD-7EC5-4623-9884-7D10ABF02FA9}" type="sibTrans" cxnId="{2300D142-3CA1-47CC-B402-435FB0D600B5}">
      <dgm:prSet/>
      <dgm:spPr/>
      <dgm:t>
        <a:bodyPr/>
        <a:lstStyle/>
        <a:p>
          <a:endParaRPr lang="ru-RU"/>
        </a:p>
      </dgm:t>
    </dgm:pt>
    <dgm:pt modelId="{F4ADA9E8-3442-4CF2-93BE-91762E8861D9}">
      <dgm:prSet phldrT="[Текст]" custT="1"/>
      <dgm:spPr/>
      <dgm:t>
        <a:bodyPr/>
        <a:lstStyle/>
        <a:p>
          <a:r>
            <a:rPr lang="ru-RU" sz="1400" dirty="0" smtClean="0">
              <a:solidFill>
                <a:schemeClr val="tx1"/>
              </a:solidFill>
            </a:rPr>
            <a:t>Часть программы формирования УУД</a:t>
          </a:r>
          <a:endParaRPr lang="ru-RU" sz="1400" dirty="0">
            <a:solidFill>
              <a:schemeClr val="tx1"/>
            </a:solidFill>
          </a:endParaRPr>
        </a:p>
      </dgm:t>
    </dgm:pt>
    <dgm:pt modelId="{B2DC20A6-FB44-468B-9469-E437C8FBB529}" type="parTrans" cxnId="{D62470D5-F996-4F82-993D-4790ED291575}">
      <dgm:prSet/>
      <dgm:spPr/>
      <dgm:t>
        <a:bodyPr/>
        <a:lstStyle/>
        <a:p>
          <a:endParaRPr lang="ru-RU"/>
        </a:p>
      </dgm:t>
    </dgm:pt>
    <dgm:pt modelId="{ADF0243B-BBD0-4E84-919D-FB521BCCD8C3}" type="sibTrans" cxnId="{D62470D5-F996-4F82-993D-4790ED291575}">
      <dgm:prSet/>
      <dgm:spPr/>
      <dgm:t>
        <a:bodyPr/>
        <a:lstStyle/>
        <a:p>
          <a:endParaRPr lang="ru-RU"/>
        </a:p>
      </dgm:t>
    </dgm:pt>
    <dgm:pt modelId="{65C8D061-8F60-4350-95EB-4B51B133F1D3}">
      <dgm:prSet phldrT="[Текст]"/>
      <dgm:spPr/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Одно из требований к </a:t>
          </a:r>
          <a:r>
            <a:rPr lang="ru-RU" dirty="0" err="1" smtClean="0">
              <a:solidFill>
                <a:schemeClr val="tx1"/>
              </a:solidFill>
            </a:rPr>
            <a:t>метапредметным</a:t>
          </a:r>
          <a:r>
            <a:rPr lang="ru-RU" dirty="0" smtClean="0">
              <a:solidFill>
                <a:schemeClr val="tx1"/>
              </a:solidFill>
            </a:rPr>
            <a:t> результатам </a:t>
          </a:r>
          <a:endParaRPr lang="ru-RU" dirty="0">
            <a:solidFill>
              <a:schemeClr val="tx1"/>
            </a:solidFill>
          </a:endParaRPr>
        </a:p>
      </dgm:t>
    </dgm:pt>
    <dgm:pt modelId="{F997C504-B526-4441-8A71-671E881C8F12}" type="parTrans" cxnId="{D69CB2BF-B8F8-4619-BBB2-CF004E58B9F8}">
      <dgm:prSet/>
      <dgm:spPr/>
      <dgm:t>
        <a:bodyPr/>
        <a:lstStyle/>
        <a:p>
          <a:endParaRPr lang="ru-RU"/>
        </a:p>
      </dgm:t>
    </dgm:pt>
    <dgm:pt modelId="{AFFB4B48-2C0D-4857-B08A-87F78F01CCBD}" type="sibTrans" cxnId="{D69CB2BF-B8F8-4619-BBB2-CF004E58B9F8}">
      <dgm:prSet/>
      <dgm:spPr/>
      <dgm:t>
        <a:bodyPr/>
        <a:lstStyle/>
        <a:p>
          <a:endParaRPr lang="ru-RU"/>
        </a:p>
      </dgm:t>
    </dgm:pt>
    <dgm:pt modelId="{0753D385-39D3-4652-88CC-B641052A75FF}">
      <dgm:prSet phldrT="[Текст]"/>
      <dgm:spPr/>
      <dgm:t>
        <a:bodyPr/>
        <a:lstStyle/>
        <a:p>
          <a:pPr marL="0" marR="0" indent="0" defTabSz="91440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dirty="0" smtClean="0">
              <a:solidFill>
                <a:schemeClr val="tx1"/>
              </a:solidFill>
            </a:rPr>
            <a:t>Оцениваемая форма учебной деятельности </a:t>
          </a:r>
          <a:endParaRPr lang="ru-RU" dirty="0">
            <a:solidFill>
              <a:schemeClr val="tx1"/>
            </a:solidFill>
          </a:endParaRPr>
        </a:p>
      </dgm:t>
    </dgm:pt>
    <dgm:pt modelId="{1C49354F-9165-40FF-9391-F2B162C9D5A7}" type="parTrans" cxnId="{19B31633-E041-4560-BCA1-CF33EA745C92}">
      <dgm:prSet/>
      <dgm:spPr/>
      <dgm:t>
        <a:bodyPr/>
        <a:lstStyle/>
        <a:p>
          <a:endParaRPr lang="ru-RU"/>
        </a:p>
      </dgm:t>
    </dgm:pt>
    <dgm:pt modelId="{ACF74681-4A06-4F93-9A57-9AB42F5F6042}" type="sibTrans" cxnId="{19B31633-E041-4560-BCA1-CF33EA745C92}">
      <dgm:prSet/>
      <dgm:spPr/>
      <dgm:t>
        <a:bodyPr/>
        <a:lstStyle/>
        <a:p>
          <a:endParaRPr lang="ru-RU"/>
        </a:p>
      </dgm:t>
    </dgm:pt>
    <dgm:pt modelId="{AAF39993-C20E-46AA-A53A-BD038D48DC94}">
      <dgm:prSet phldrT="[Текст]"/>
      <dgm:spPr/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Основная форма учебной деятельности развивающая УУД</a:t>
          </a:r>
          <a:endParaRPr lang="ru-RU" dirty="0">
            <a:solidFill>
              <a:schemeClr val="tx1"/>
            </a:solidFill>
          </a:endParaRPr>
        </a:p>
      </dgm:t>
    </dgm:pt>
    <dgm:pt modelId="{89F3A5F9-ABDF-42BD-B3B3-C221DED07EF0}" type="parTrans" cxnId="{9596BC09-EA97-458B-9F5E-EBA0D38BDA2E}">
      <dgm:prSet/>
      <dgm:spPr/>
      <dgm:t>
        <a:bodyPr/>
        <a:lstStyle/>
        <a:p>
          <a:endParaRPr lang="ru-RU"/>
        </a:p>
      </dgm:t>
    </dgm:pt>
    <dgm:pt modelId="{BF08A483-6D51-4D88-B7C8-D70140B2C726}" type="sibTrans" cxnId="{9596BC09-EA97-458B-9F5E-EBA0D38BDA2E}">
      <dgm:prSet/>
      <dgm:spPr/>
      <dgm:t>
        <a:bodyPr/>
        <a:lstStyle/>
        <a:p>
          <a:endParaRPr lang="ru-RU"/>
        </a:p>
      </dgm:t>
    </dgm:pt>
    <dgm:pt modelId="{1EE63A01-F979-4CA0-955D-675C63706D3F}">
      <dgm:prSet phldrT="[Текст]"/>
      <dgm:spPr/>
      <dgm:t>
        <a:bodyPr/>
        <a:lstStyle/>
        <a:p>
          <a:r>
            <a:rPr lang="ru-RU" dirty="0" smtClean="0">
              <a:solidFill>
                <a:schemeClr val="tx1"/>
              </a:solidFill>
            </a:rPr>
            <a:t>Составная часть требований к предметным результатам</a:t>
          </a:r>
          <a:endParaRPr lang="ru-RU" dirty="0">
            <a:solidFill>
              <a:schemeClr val="tx1"/>
            </a:solidFill>
          </a:endParaRPr>
        </a:p>
      </dgm:t>
    </dgm:pt>
    <dgm:pt modelId="{F1E42553-CE60-4DA8-92FD-57BE12FA7CD4}" type="parTrans" cxnId="{093ADA17-5EC0-402F-9758-115FB4162699}">
      <dgm:prSet/>
      <dgm:spPr/>
      <dgm:t>
        <a:bodyPr/>
        <a:lstStyle/>
        <a:p>
          <a:endParaRPr lang="ru-RU"/>
        </a:p>
      </dgm:t>
    </dgm:pt>
    <dgm:pt modelId="{B79A26A5-5F94-4BDF-B80D-42E6CF9D8F51}" type="sibTrans" cxnId="{093ADA17-5EC0-402F-9758-115FB4162699}">
      <dgm:prSet/>
      <dgm:spPr/>
      <dgm:t>
        <a:bodyPr/>
        <a:lstStyle/>
        <a:p>
          <a:endParaRPr lang="ru-RU"/>
        </a:p>
      </dgm:t>
    </dgm:pt>
    <dgm:pt modelId="{E854C52E-7C52-4FEC-898A-6FCB17810E73}" type="pres">
      <dgm:prSet presAssocID="{BCB6116D-E086-447D-97C5-7E00DCC718A4}" presName="Name0" presStyleCnt="0">
        <dgm:presLayoutVars>
          <dgm:chMax val="1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A4833E0-A749-4E6B-B232-481BF0BD9355}" type="pres">
      <dgm:prSet presAssocID="{967D9A1A-3FD9-476F-AA52-DD7F39DCB6D8}" presName="centerShape" presStyleLbl="node0" presStyleIdx="0" presStyleCnt="1" custScaleX="117800" custScaleY="112446"/>
      <dgm:spPr/>
      <dgm:t>
        <a:bodyPr/>
        <a:lstStyle/>
        <a:p>
          <a:endParaRPr lang="ru-RU"/>
        </a:p>
      </dgm:t>
    </dgm:pt>
    <dgm:pt modelId="{77E1CECB-4B08-49F4-864E-A2DCF2971F12}" type="pres">
      <dgm:prSet presAssocID="{B2DC20A6-FB44-468B-9469-E437C8FBB529}" presName="parTrans" presStyleLbl="sibTrans2D1" presStyleIdx="0" presStyleCnt="5"/>
      <dgm:spPr/>
      <dgm:t>
        <a:bodyPr/>
        <a:lstStyle/>
        <a:p>
          <a:endParaRPr lang="ru-RU"/>
        </a:p>
      </dgm:t>
    </dgm:pt>
    <dgm:pt modelId="{6B4FB907-48D1-4050-B878-5386BE9F9128}" type="pres">
      <dgm:prSet presAssocID="{B2DC20A6-FB44-468B-9469-E437C8FBB529}" presName="connectorText" presStyleLbl="sibTrans2D1" presStyleIdx="0" presStyleCnt="5"/>
      <dgm:spPr/>
      <dgm:t>
        <a:bodyPr/>
        <a:lstStyle/>
        <a:p>
          <a:endParaRPr lang="ru-RU"/>
        </a:p>
      </dgm:t>
    </dgm:pt>
    <dgm:pt modelId="{2ED81627-4D2E-460D-9904-5831A0F05054}" type="pres">
      <dgm:prSet presAssocID="{F4ADA9E8-3442-4CF2-93BE-91762E8861D9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3DE0229-0139-4415-8A1F-DE3B3F9F1F5D}" type="pres">
      <dgm:prSet presAssocID="{F997C504-B526-4441-8A71-671E881C8F12}" presName="parTrans" presStyleLbl="sibTrans2D1" presStyleIdx="1" presStyleCnt="5"/>
      <dgm:spPr/>
      <dgm:t>
        <a:bodyPr/>
        <a:lstStyle/>
        <a:p>
          <a:endParaRPr lang="ru-RU"/>
        </a:p>
      </dgm:t>
    </dgm:pt>
    <dgm:pt modelId="{D669DE6D-BED8-422F-9EB2-BA1ADFB9DBBB}" type="pres">
      <dgm:prSet presAssocID="{F997C504-B526-4441-8A71-671E881C8F12}" presName="connectorText" presStyleLbl="sibTrans2D1" presStyleIdx="1" presStyleCnt="5"/>
      <dgm:spPr/>
      <dgm:t>
        <a:bodyPr/>
        <a:lstStyle/>
        <a:p>
          <a:endParaRPr lang="ru-RU"/>
        </a:p>
      </dgm:t>
    </dgm:pt>
    <dgm:pt modelId="{91B0FBED-9113-493E-B973-FF3938962322}" type="pres">
      <dgm:prSet presAssocID="{65C8D061-8F60-4350-95EB-4B51B133F1D3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72F7744-ABC5-4D91-B837-84A4534C0643}" type="pres">
      <dgm:prSet presAssocID="{F1E42553-CE60-4DA8-92FD-57BE12FA7CD4}" presName="parTrans" presStyleLbl="sibTrans2D1" presStyleIdx="2" presStyleCnt="5"/>
      <dgm:spPr/>
      <dgm:t>
        <a:bodyPr/>
        <a:lstStyle/>
        <a:p>
          <a:endParaRPr lang="ru-RU"/>
        </a:p>
      </dgm:t>
    </dgm:pt>
    <dgm:pt modelId="{1774D277-4584-41FC-91B0-26254055F92F}" type="pres">
      <dgm:prSet presAssocID="{F1E42553-CE60-4DA8-92FD-57BE12FA7CD4}" presName="connectorText" presStyleLbl="sibTrans2D1" presStyleIdx="2" presStyleCnt="5"/>
      <dgm:spPr/>
      <dgm:t>
        <a:bodyPr/>
        <a:lstStyle/>
        <a:p>
          <a:endParaRPr lang="ru-RU"/>
        </a:p>
      </dgm:t>
    </dgm:pt>
    <dgm:pt modelId="{1B670FDC-F9CF-4326-AEBD-D7E2629B72F2}" type="pres">
      <dgm:prSet presAssocID="{1EE63A01-F979-4CA0-955D-675C63706D3F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82D186A-CFF5-4715-AB17-48328F4EC685}" type="pres">
      <dgm:prSet presAssocID="{1C49354F-9165-40FF-9391-F2B162C9D5A7}" presName="parTrans" presStyleLbl="sibTrans2D1" presStyleIdx="3" presStyleCnt="5"/>
      <dgm:spPr/>
      <dgm:t>
        <a:bodyPr/>
        <a:lstStyle/>
        <a:p>
          <a:endParaRPr lang="ru-RU"/>
        </a:p>
      </dgm:t>
    </dgm:pt>
    <dgm:pt modelId="{235D39D3-D846-45F8-8A61-DA397CEEAE03}" type="pres">
      <dgm:prSet presAssocID="{1C49354F-9165-40FF-9391-F2B162C9D5A7}" presName="connectorText" presStyleLbl="sibTrans2D1" presStyleIdx="3" presStyleCnt="5"/>
      <dgm:spPr/>
      <dgm:t>
        <a:bodyPr/>
        <a:lstStyle/>
        <a:p>
          <a:endParaRPr lang="ru-RU"/>
        </a:p>
      </dgm:t>
    </dgm:pt>
    <dgm:pt modelId="{984FA463-5901-47FD-A7D0-25113A23E26B}" type="pres">
      <dgm:prSet presAssocID="{0753D385-39D3-4652-88CC-B641052A75FF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94875E5-8DE7-4CF0-88D3-760AA81ECC10}" type="pres">
      <dgm:prSet presAssocID="{89F3A5F9-ABDF-42BD-B3B3-C221DED07EF0}" presName="parTrans" presStyleLbl="sibTrans2D1" presStyleIdx="4" presStyleCnt="5"/>
      <dgm:spPr/>
      <dgm:t>
        <a:bodyPr/>
        <a:lstStyle/>
        <a:p>
          <a:endParaRPr lang="ru-RU"/>
        </a:p>
      </dgm:t>
    </dgm:pt>
    <dgm:pt modelId="{C0456E3C-342A-408F-97CD-CF1EF0ED7146}" type="pres">
      <dgm:prSet presAssocID="{89F3A5F9-ABDF-42BD-B3B3-C221DED07EF0}" presName="connectorText" presStyleLbl="sibTrans2D1" presStyleIdx="4" presStyleCnt="5"/>
      <dgm:spPr/>
      <dgm:t>
        <a:bodyPr/>
        <a:lstStyle/>
        <a:p>
          <a:endParaRPr lang="ru-RU"/>
        </a:p>
      </dgm:t>
    </dgm:pt>
    <dgm:pt modelId="{47E952D3-367A-47B8-AAD1-8CD4BFD2F07D}" type="pres">
      <dgm:prSet presAssocID="{AAF39993-C20E-46AA-A53A-BD038D48DC94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596BC09-EA97-458B-9F5E-EBA0D38BDA2E}" srcId="{967D9A1A-3FD9-476F-AA52-DD7F39DCB6D8}" destId="{AAF39993-C20E-46AA-A53A-BD038D48DC94}" srcOrd="4" destOrd="0" parTransId="{89F3A5F9-ABDF-42BD-B3B3-C221DED07EF0}" sibTransId="{BF08A483-6D51-4D88-B7C8-D70140B2C726}"/>
    <dgm:cxn modelId="{14F93809-02A1-4964-9EE7-D7CE29D6EF14}" type="presOf" srcId="{F1E42553-CE60-4DA8-92FD-57BE12FA7CD4}" destId="{972F7744-ABC5-4D91-B837-84A4534C0643}" srcOrd="0" destOrd="0" presId="urn:microsoft.com/office/officeart/2005/8/layout/radial5"/>
    <dgm:cxn modelId="{549F8A6E-F8C8-445F-A93F-81A9866FF958}" type="presOf" srcId="{1C49354F-9165-40FF-9391-F2B162C9D5A7}" destId="{235D39D3-D846-45F8-8A61-DA397CEEAE03}" srcOrd="1" destOrd="0" presId="urn:microsoft.com/office/officeart/2005/8/layout/radial5"/>
    <dgm:cxn modelId="{63C3501C-8900-44D7-8ED2-BE8DA8AA3844}" type="presOf" srcId="{89F3A5F9-ABDF-42BD-B3B3-C221DED07EF0}" destId="{994875E5-8DE7-4CF0-88D3-760AA81ECC10}" srcOrd="0" destOrd="0" presId="urn:microsoft.com/office/officeart/2005/8/layout/radial5"/>
    <dgm:cxn modelId="{093ADA17-5EC0-402F-9758-115FB4162699}" srcId="{967D9A1A-3FD9-476F-AA52-DD7F39DCB6D8}" destId="{1EE63A01-F979-4CA0-955D-675C63706D3F}" srcOrd="2" destOrd="0" parTransId="{F1E42553-CE60-4DA8-92FD-57BE12FA7CD4}" sibTransId="{B79A26A5-5F94-4BDF-B80D-42E6CF9D8F51}"/>
    <dgm:cxn modelId="{87603C21-EBDD-4C45-8C4B-9F84A355BA7E}" type="presOf" srcId="{AAF39993-C20E-46AA-A53A-BD038D48DC94}" destId="{47E952D3-367A-47B8-AAD1-8CD4BFD2F07D}" srcOrd="0" destOrd="0" presId="urn:microsoft.com/office/officeart/2005/8/layout/radial5"/>
    <dgm:cxn modelId="{D69CB2BF-B8F8-4619-BBB2-CF004E58B9F8}" srcId="{967D9A1A-3FD9-476F-AA52-DD7F39DCB6D8}" destId="{65C8D061-8F60-4350-95EB-4B51B133F1D3}" srcOrd="1" destOrd="0" parTransId="{F997C504-B526-4441-8A71-671E881C8F12}" sibTransId="{AFFB4B48-2C0D-4857-B08A-87F78F01CCBD}"/>
    <dgm:cxn modelId="{DCF906CB-9F8C-40E5-97E9-EA795ECB5284}" type="presOf" srcId="{F997C504-B526-4441-8A71-671E881C8F12}" destId="{C3DE0229-0139-4415-8A1F-DE3B3F9F1F5D}" srcOrd="0" destOrd="0" presId="urn:microsoft.com/office/officeart/2005/8/layout/radial5"/>
    <dgm:cxn modelId="{2300D142-3CA1-47CC-B402-435FB0D600B5}" srcId="{BCB6116D-E086-447D-97C5-7E00DCC718A4}" destId="{967D9A1A-3FD9-476F-AA52-DD7F39DCB6D8}" srcOrd="0" destOrd="0" parTransId="{E1807C20-F0B9-4D6F-B117-775653E969DE}" sibTransId="{3485DECD-7EC5-4623-9884-7D10ABF02FA9}"/>
    <dgm:cxn modelId="{2ABCDD0D-F2A2-43AF-B4A3-4A6A1FE9A353}" type="presOf" srcId="{F4ADA9E8-3442-4CF2-93BE-91762E8861D9}" destId="{2ED81627-4D2E-460D-9904-5831A0F05054}" srcOrd="0" destOrd="0" presId="urn:microsoft.com/office/officeart/2005/8/layout/radial5"/>
    <dgm:cxn modelId="{AA69721D-BAF0-49A0-BCB5-803903A7449B}" type="presOf" srcId="{B2DC20A6-FB44-468B-9469-E437C8FBB529}" destId="{6B4FB907-48D1-4050-B878-5386BE9F9128}" srcOrd="1" destOrd="0" presId="urn:microsoft.com/office/officeart/2005/8/layout/radial5"/>
    <dgm:cxn modelId="{B9F009FD-362A-4ACE-910A-F290051F067F}" type="presOf" srcId="{BCB6116D-E086-447D-97C5-7E00DCC718A4}" destId="{E854C52E-7C52-4FEC-898A-6FCB17810E73}" srcOrd="0" destOrd="0" presId="urn:microsoft.com/office/officeart/2005/8/layout/radial5"/>
    <dgm:cxn modelId="{D62470D5-F996-4F82-993D-4790ED291575}" srcId="{967D9A1A-3FD9-476F-AA52-DD7F39DCB6D8}" destId="{F4ADA9E8-3442-4CF2-93BE-91762E8861D9}" srcOrd="0" destOrd="0" parTransId="{B2DC20A6-FB44-468B-9469-E437C8FBB529}" sibTransId="{ADF0243B-BBD0-4E84-919D-FB521BCCD8C3}"/>
    <dgm:cxn modelId="{3A9E9361-BCD5-4796-9FE3-9EE1625EDA63}" type="presOf" srcId="{65C8D061-8F60-4350-95EB-4B51B133F1D3}" destId="{91B0FBED-9113-493E-B973-FF3938962322}" srcOrd="0" destOrd="0" presId="urn:microsoft.com/office/officeart/2005/8/layout/radial5"/>
    <dgm:cxn modelId="{31CC426B-7753-47D9-BC99-E7BC0C5A2D89}" type="presOf" srcId="{1C49354F-9165-40FF-9391-F2B162C9D5A7}" destId="{782D186A-CFF5-4715-AB17-48328F4EC685}" srcOrd="0" destOrd="0" presId="urn:microsoft.com/office/officeart/2005/8/layout/radial5"/>
    <dgm:cxn modelId="{37C079E8-CB24-49E0-A472-B45CD80FAC81}" type="presOf" srcId="{0753D385-39D3-4652-88CC-B641052A75FF}" destId="{984FA463-5901-47FD-A7D0-25113A23E26B}" srcOrd="0" destOrd="0" presId="urn:microsoft.com/office/officeart/2005/8/layout/radial5"/>
    <dgm:cxn modelId="{85C32FDA-91DA-4E66-B1BC-D37BB8D2052B}" type="presOf" srcId="{1EE63A01-F979-4CA0-955D-675C63706D3F}" destId="{1B670FDC-F9CF-4326-AEBD-D7E2629B72F2}" srcOrd="0" destOrd="0" presId="urn:microsoft.com/office/officeart/2005/8/layout/radial5"/>
    <dgm:cxn modelId="{70DE9DC7-45CC-4159-B5FF-EFED5CBDDBC7}" type="presOf" srcId="{F997C504-B526-4441-8A71-671E881C8F12}" destId="{D669DE6D-BED8-422F-9EB2-BA1ADFB9DBBB}" srcOrd="1" destOrd="0" presId="urn:microsoft.com/office/officeart/2005/8/layout/radial5"/>
    <dgm:cxn modelId="{5AE48AC7-4EFC-4FD7-85ED-C5DABA0526C6}" type="presOf" srcId="{B2DC20A6-FB44-468B-9469-E437C8FBB529}" destId="{77E1CECB-4B08-49F4-864E-A2DCF2971F12}" srcOrd="0" destOrd="0" presId="urn:microsoft.com/office/officeart/2005/8/layout/radial5"/>
    <dgm:cxn modelId="{877DEF47-7A12-4597-ADBB-D93BF9F0DE98}" type="presOf" srcId="{967D9A1A-3FD9-476F-AA52-DD7F39DCB6D8}" destId="{DA4833E0-A749-4E6B-B232-481BF0BD9355}" srcOrd="0" destOrd="0" presId="urn:microsoft.com/office/officeart/2005/8/layout/radial5"/>
    <dgm:cxn modelId="{19B31633-E041-4560-BCA1-CF33EA745C92}" srcId="{967D9A1A-3FD9-476F-AA52-DD7F39DCB6D8}" destId="{0753D385-39D3-4652-88CC-B641052A75FF}" srcOrd="3" destOrd="0" parTransId="{1C49354F-9165-40FF-9391-F2B162C9D5A7}" sibTransId="{ACF74681-4A06-4F93-9A57-9AB42F5F6042}"/>
    <dgm:cxn modelId="{6DC6BC51-75EA-4194-9C53-DFEE313E7A6E}" type="presOf" srcId="{89F3A5F9-ABDF-42BD-B3B3-C221DED07EF0}" destId="{C0456E3C-342A-408F-97CD-CF1EF0ED7146}" srcOrd="1" destOrd="0" presId="urn:microsoft.com/office/officeart/2005/8/layout/radial5"/>
    <dgm:cxn modelId="{F998E622-B748-4F61-B856-449BBB3CB660}" type="presOf" srcId="{F1E42553-CE60-4DA8-92FD-57BE12FA7CD4}" destId="{1774D277-4584-41FC-91B0-26254055F92F}" srcOrd="1" destOrd="0" presId="urn:microsoft.com/office/officeart/2005/8/layout/radial5"/>
    <dgm:cxn modelId="{980BC381-D8E3-46AF-B214-79D246B34BB8}" type="presParOf" srcId="{E854C52E-7C52-4FEC-898A-6FCB17810E73}" destId="{DA4833E0-A749-4E6B-B232-481BF0BD9355}" srcOrd="0" destOrd="0" presId="urn:microsoft.com/office/officeart/2005/8/layout/radial5"/>
    <dgm:cxn modelId="{C97C5781-1994-4EEC-AD0E-5D6F767588F7}" type="presParOf" srcId="{E854C52E-7C52-4FEC-898A-6FCB17810E73}" destId="{77E1CECB-4B08-49F4-864E-A2DCF2971F12}" srcOrd="1" destOrd="0" presId="urn:microsoft.com/office/officeart/2005/8/layout/radial5"/>
    <dgm:cxn modelId="{7A1EB4C5-46A1-4583-9E57-08D191A41B6C}" type="presParOf" srcId="{77E1CECB-4B08-49F4-864E-A2DCF2971F12}" destId="{6B4FB907-48D1-4050-B878-5386BE9F9128}" srcOrd="0" destOrd="0" presId="urn:microsoft.com/office/officeart/2005/8/layout/radial5"/>
    <dgm:cxn modelId="{AD5DDC2D-B570-4AC2-98D8-F25762D58488}" type="presParOf" srcId="{E854C52E-7C52-4FEC-898A-6FCB17810E73}" destId="{2ED81627-4D2E-460D-9904-5831A0F05054}" srcOrd="2" destOrd="0" presId="urn:microsoft.com/office/officeart/2005/8/layout/radial5"/>
    <dgm:cxn modelId="{C7441719-5D2E-4A54-8F0C-CD77D3487BCE}" type="presParOf" srcId="{E854C52E-7C52-4FEC-898A-6FCB17810E73}" destId="{C3DE0229-0139-4415-8A1F-DE3B3F9F1F5D}" srcOrd="3" destOrd="0" presId="urn:microsoft.com/office/officeart/2005/8/layout/radial5"/>
    <dgm:cxn modelId="{6460D19E-255D-4C65-8495-7EB2D096FB2B}" type="presParOf" srcId="{C3DE0229-0139-4415-8A1F-DE3B3F9F1F5D}" destId="{D669DE6D-BED8-422F-9EB2-BA1ADFB9DBBB}" srcOrd="0" destOrd="0" presId="urn:microsoft.com/office/officeart/2005/8/layout/radial5"/>
    <dgm:cxn modelId="{74A21695-E1F6-4D61-AAF5-FDC1FC456AE2}" type="presParOf" srcId="{E854C52E-7C52-4FEC-898A-6FCB17810E73}" destId="{91B0FBED-9113-493E-B973-FF3938962322}" srcOrd="4" destOrd="0" presId="urn:microsoft.com/office/officeart/2005/8/layout/radial5"/>
    <dgm:cxn modelId="{758E5566-CFC1-4B95-92BB-94312A88E7EB}" type="presParOf" srcId="{E854C52E-7C52-4FEC-898A-6FCB17810E73}" destId="{972F7744-ABC5-4D91-B837-84A4534C0643}" srcOrd="5" destOrd="0" presId="urn:microsoft.com/office/officeart/2005/8/layout/radial5"/>
    <dgm:cxn modelId="{CF7531C5-E36E-4F5B-AB7E-7152722FF59A}" type="presParOf" srcId="{972F7744-ABC5-4D91-B837-84A4534C0643}" destId="{1774D277-4584-41FC-91B0-26254055F92F}" srcOrd="0" destOrd="0" presId="urn:microsoft.com/office/officeart/2005/8/layout/radial5"/>
    <dgm:cxn modelId="{4CB1CB6E-D560-432B-9EA9-142C8C20CE5E}" type="presParOf" srcId="{E854C52E-7C52-4FEC-898A-6FCB17810E73}" destId="{1B670FDC-F9CF-4326-AEBD-D7E2629B72F2}" srcOrd="6" destOrd="0" presId="urn:microsoft.com/office/officeart/2005/8/layout/radial5"/>
    <dgm:cxn modelId="{BC76572D-D8E2-4FE6-B8B4-9FC740E44F80}" type="presParOf" srcId="{E854C52E-7C52-4FEC-898A-6FCB17810E73}" destId="{782D186A-CFF5-4715-AB17-48328F4EC685}" srcOrd="7" destOrd="0" presId="urn:microsoft.com/office/officeart/2005/8/layout/radial5"/>
    <dgm:cxn modelId="{E5551C78-731F-4F0F-8906-D6E331E622BB}" type="presParOf" srcId="{782D186A-CFF5-4715-AB17-48328F4EC685}" destId="{235D39D3-D846-45F8-8A61-DA397CEEAE03}" srcOrd="0" destOrd="0" presId="urn:microsoft.com/office/officeart/2005/8/layout/radial5"/>
    <dgm:cxn modelId="{B8E33876-025B-457B-B10F-CF21F814DEFF}" type="presParOf" srcId="{E854C52E-7C52-4FEC-898A-6FCB17810E73}" destId="{984FA463-5901-47FD-A7D0-25113A23E26B}" srcOrd="8" destOrd="0" presId="urn:microsoft.com/office/officeart/2005/8/layout/radial5"/>
    <dgm:cxn modelId="{2261E4B7-F654-44A4-B59A-D755F8FFE33E}" type="presParOf" srcId="{E854C52E-7C52-4FEC-898A-6FCB17810E73}" destId="{994875E5-8DE7-4CF0-88D3-760AA81ECC10}" srcOrd="9" destOrd="0" presId="urn:microsoft.com/office/officeart/2005/8/layout/radial5"/>
    <dgm:cxn modelId="{F678FD0B-AF74-4893-936C-DB04FA3289D0}" type="presParOf" srcId="{994875E5-8DE7-4CF0-88D3-760AA81ECC10}" destId="{C0456E3C-342A-408F-97CD-CF1EF0ED7146}" srcOrd="0" destOrd="0" presId="urn:microsoft.com/office/officeart/2005/8/layout/radial5"/>
    <dgm:cxn modelId="{8F13AD28-9332-41FF-8E6A-3CABE45651A3}" type="presParOf" srcId="{E854C52E-7C52-4FEC-898A-6FCB17810E73}" destId="{47E952D3-367A-47B8-AAD1-8CD4BFD2F07D}" srcOrd="10" destOrd="0" presId="urn:microsoft.com/office/officeart/2005/8/layout/radial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9.xml><?xml version="1.0" encoding="utf-8"?>
<dgm:dataModel xmlns:dgm="http://schemas.openxmlformats.org/drawingml/2006/diagram" xmlns:a="http://schemas.openxmlformats.org/drawingml/2006/main">
  <dgm:ptLst>
    <dgm:pt modelId="{4BB26AB7-D3DF-421C-998E-102D7B201FAF}" type="doc">
      <dgm:prSet loTypeId="urn:microsoft.com/office/officeart/2005/8/layout/radial2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BE29CB6-96F7-4DA6-8DDC-52F108CA82A3}">
      <dgm:prSet phldrT="[Текст]"/>
      <dgm:spPr/>
      <dgm:t>
        <a:bodyPr/>
        <a:lstStyle/>
        <a:p>
          <a:r>
            <a:rPr lang="ru-RU" dirty="0" smtClean="0"/>
            <a:t>Обеспечение доступности</a:t>
          </a:r>
          <a:endParaRPr lang="ru-RU" dirty="0"/>
        </a:p>
      </dgm:t>
    </dgm:pt>
    <dgm:pt modelId="{8C6F6FAA-6240-4E4F-87B1-10B1378B1F12}" type="parTrans" cxnId="{BF42118F-B632-4805-B6F7-334C0D745267}">
      <dgm:prSet/>
      <dgm:spPr/>
      <dgm:t>
        <a:bodyPr/>
        <a:lstStyle/>
        <a:p>
          <a:endParaRPr lang="ru-RU"/>
        </a:p>
      </dgm:t>
    </dgm:pt>
    <dgm:pt modelId="{DB405EEE-F3C2-46E8-B4FD-10F28069E277}" type="sibTrans" cxnId="{BF42118F-B632-4805-B6F7-334C0D745267}">
      <dgm:prSet/>
      <dgm:spPr/>
      <dgm:t>
        <a:bodyPr/>
        <a:lstStyle/>
        <a:p>
          <a:endParaRPr lang="ru-RU"/>
        </a:p>
      </dgm:t>
    </dgm:pt>
    <dgm:pt modelId="{CF8E0837-F2C0-450B-9AC4-7E6190F1591D}">
      <dgm:prSet phldrT="[Текст]"/>
      <dgm:spPr/>
      <dgm:t>
        <a:bodyPr/>
        <a:lstStyle/>
        <a:p>
          <a:r>
            <a:rPr lang="ru-RU" dirty="0" smtClean="0"/>
            <a:t>информационных и учебных  ресурсов образовательной организации</a:t>
          </a:r>
          <a:endParaRPr lang="ru-RU" dirty="0"/>
        </a:p>
      </dgm:t>
    </dgm:pt>
    <dgm:pt modelId="{A052FB20-7DA2-4A21-B8D3-29CFB89DDA74}" type="parTrans" cxnId="{15E6BE30-60A6-4247-B225-94FC7BA022FF}">
      <dgm:prSet/>
      <dgm:spPr/>
      <dgm:t>
        <a:bodyPr/>
        <a:lstStyle/>
        <a:p>
          <a:endParaRPr lang="ru-RU"/>
        </a:p>
      </dgm:t>
    </dgm:pt>
    <dgm:pt modelId="{C3F5FEC3-386A-488C-A613-F26CE905F3A1}" type="sibTrans" cxnId="{15E6BE30-60A6-4247-B225-94FC7BA022FF}">
      <dgm:prSet/>
      <dgm:spPr/>
      <dgm:t>
        <a:bodyPr/>
        <a:lstStyle/>
        <a:p>
          <a:endParaRPr lang="ru-RU"/>
        </a:p>
      </dgm:t>
    </dgm:pt>
    <dgm:pt modelId="{433EA884-AB61-4148-897D-513BAA18F123}">
      <dgm:prSet phldrT="[Текст]"/>
      <dgm:spPr/>
      <dgm:t>
        <a:bodyPr/>
        <a:lstStyle/>
        <a:p>
          <a:r>
            <a:rPr lang="ru-RU" dirty="0" smtClean="0"/>
            <a:t> учебной документации (программы, учебные планы, результаты промежуточных аттестаций)</a:t>
          </a:r>
          <a:endParaRPr lang="ru-RU" dirty="0"/>
        </a:p>
      </dgm:t>
    </dgm:pt>
    <dgm:pt modelId="{B6940681-2BDC-4469-8606-F3B95217D034}" type="parTrans" cxnId="{DF1A5994-FA1D-4738-811E-E0FAA7C83E2C}">
      <dgm:prSet/>
      <dgm:spPr/>
      <dgm:t>
        <a:bodyPr/>
        <a:lstStyle/>
        <a:p>
          <a:endParaRPr lang="ru-RU"/>
        </a:p>
      </dgm:t>
    </dgm:pt>
    <dgm:pt modelId="{8CAA7C59-72CD-48A8-8540-5B4D4BCB9EC7}" type="sibTrans" cxnId="{DF1A5994-FA1D-4738-811E-E0FAA7C83E2C}">
      <dgm:prSet/>
      <dgm:spPr/>
      <dgm:t>
        <a:bodyPr/>
        <a:lstStyle/>
        <a:p>
          <a:endParaRPr lang="ru-RU"/>
        </a:p>
      </dgm:t>
    </dgm:pt>
    <dgm:pt modelId="{FECAD9C2-7C04-4400-9306-A90C84783D83}">
      <dgm:prSet phldrT="[Текст]"/>
      <dgm:spPr/>
      <dgm:t>
        <a:bodyPr/>
        <a:lstStyle/>
        <a:p>
          <a:r>
            <a:rPr lang="ru-RU" dirty="0" smtClean="0"/>
            <a:t>Возможность использования</a:t>
          </a:r>
          <a:endParaRPr lang="ru-RU" dirty="0"/>
        </a:p>
      </dgm:t>
    </dgm:pt>
    <dgm:pt modelId="{A139B212-CA79-4194-8B17-ABE7E7EE3936}" type="parTrans" cxnId="{31EB473B-0206-471C-8EAC-17300B2D63C7}">
      <dgm:prSet/>
      <dgm:spPr/>
      <dgm:t>
        <a:bodyPr/>
        <a:lstStyle/>
        <a:p>
          <a:endParaRPr lang="ru-RU"/>
        </a:p>
      </dgm:t>
    </dgm:pt>
    <dgm:pt modelId="{2186F962-6EB2-47E5-8A38-7837FDA7112D}" type="sibTrans" cxnId="{31EB473B-0206-471C-8EAC-17300B2D63C7}">
      <dgm:prSet/>
      <dgm:spPr/>
      <dgm:t>
        <a:bodyPr/>
        <a:lstStyle/>
        <a:p>
          <a:endParaRPr lang="ru-RU"/>
        </a:p>
      </dgm:t>
    </dgm:pt>
    <dgm:pt modelId="{4F0B3911-2B81-48BD-A605-F144F39AD623}">
      <dgm:prSet phldrT="[Текст]"/>
      <dgm:spPr/>
      <dgm:t>
        <a:bodyPr/>
        <a:lstStyle/>
        <a:p>
          <a:r>
            <a:rPr lang="ru-RU" dirty="0" smtClean="0"/>
            <a:t>Различных носителей информации (как традиционных, так и цифровых)</a:t>
          </a:r>
          <a:endParaRPr lang="ru-RU" dirty="0"/>
        </a:p>
      </dgm:t>
    </dgm:pt>
    <dgm:pt modelId="{A2DDD442-632E-4E3B-AB96-32E1E21E0642}" type="parTrans" cxnId="{E1132938-19DA-468A-BC7E-1BEC96995FAD}">
      <dgm:prSet/>
      <dgm:spPr/>
      <dgm:t>
        <a:bodyPr/>
        <a:lstStyle/>
        <a:p>
          <a:endParaRPr lang="ru-RU"/>
        </a:p>
      </dgm:t>
    </dgm:pt>
    <dgm:pt modelId="{78264DCC-45CE-46B0-A907-59D297CD0DE5}" type="sibTrans" cxnId="{E1132938-19DA-468A-BC7E-1BEC96995FAD}">
      <dgm:prSet/>
      <dgm:spPr/>
      <dgm:t>
        <a:bodyPr/>
        <a:lstStyle/>
        <a:p>
          <a:endParaRPr lang="ru-RU"/>
        </a:p>
      </dgm:t>
    </dgm:pt>
    <dgm:pt modelId="{CDAA33E1-938C-44C9-92F8-38791B04795D}">
      <dgm:prSet phldrT="[Текст]"/>
      <dgm:spPr/>
      <dgm:t>
        <a:bodyPr/>
        <a:lstStyle/>
        <a:p>
          <a:r>
            <a:rPr lang="ru-RU" dirty="0" smtClean="0"/>
            <a:t>Использования внешних ресурсов для функционирования ИОС школы (</a:t>
          </a:r>
          <a:r>
            <a:rPr lang="en-US" dirty="0" smtClean="0"/>
            <a:t>outsourcing) </a:t>
          </a:r>
          <a:endParaRPr lang="ru-RU" dirty="0"/>
        </a:p>
      </dgm:t>
    </dgm:pt>
    <dgm:pt modelId="{9444DDD6-F128-4760-BCFA-AF38A796EC15}" type="parTrans" cxnId="{3D7933B1-632E-469E-90AB-0999DFCAE541}">
      <dgm:prSet/>
      <dgm:spPr/>
      <dgm:t>
        <a:bodyPr/>
        <a:lstStyle/>
        <a:p>
          <a:endParaRPr lang="ru-RU"/>
        </a:p>
      </dgm:t>
    </dgm:pt>
    <dgm:pt modelId="{FB08CA2F-F35D-483B-BE84-FD117A1BABB8}" type="sibTrans" cxnId="{3D7933B1-632E-469E-90AB-0999DFCAE541}">
      <dgm:prSet/>
      <dgm:spPr/>
      <dgm:t>
        <a:bodyPr/>
        <a:lstStyle/>
        <a:p>
          <a:endParaRPr lang="ru-RU"/>
        </a:p>
      </dgm:t>
    </dgm:pt>
    <dgm:pt modelId="{094A4D34-82B2-4634-B833-F3E6CA557428}">
      <dgm:prSet phldrT="[Текст]"/>
      <dgm:spPr/>
      <dgm:t>
        <a:bodyPr/>
        <a:lstStyle/>
        <a:p>
          <a:r>
            <a:rPr lang="ru-RU" dirty="0" smtClean="0"/>
            <a:t>Использование в целях </a:t>
          </a:r>
          <a:endParaRPr lang="ru-RU" dirty="0"/>
        </a:p>
      </dgm:t>
    </dgm:pt>
    <dgm:pt modelId="{CD56B681-7373-4176-8BBD-77C3070D26EF}" type="parTrans" cxnId="{1F70D140-BC36-4DEE-961B-96E745C39EE6}">
      <dgm:prSet/>
      <dgm:spPr/>
      <dgm:t>
        <a:bodyPr/>
        <a:lstStyle/>
        <a:p>
          <a:endParaRPr lang="ru-RU"/>
        </a:p>
      </dgm:t>
    </dgm:pt>
    <dgm:pt modelId="{253CE8AE-D504-4060-81DD-DC2A2F643DEF}" type="sibTrans" cxnId="{1F70D140-BC36-4DEE-961B-96E745C39EE6}">
      <dgm:prSet/>
      <dgm:spPr/>
      <dgm:t>
        <a:bodyPr/>
        <a:lstStyle/>
        <a:p>
          <a:endParaRPr lang="ru-RU"/>
        </a:p>
      </dgm:t>
    </dgm:pt>
    <dgm:pt modelId="{C459E3C6-447C-47F6-9CA8-62699D0CA31A}">
      <dgm:prSet phldrT="[Текст]"/>
      <dgm:spPr/>
      <dgm:t>
        <a:bodyPr/>
        <a:lstStyle/>
        <a:p>
          <a:r>
            <a:rPr lang="ru-RU" dirty="0" smtClean="0"/>
            <a:t>Повышения эффективности и качества реализации образовательных программ</a:t>
          </a:r>
          <a:endParaRPr lang="ru-RU" dirty="0"/>
        </a:p>
      </dgm:t>
    </dgm:pt>
    <dgm:pt modelId="{A1AA4BAC-810A-492C-8D7E-710EAD4C2EB3}" type="parTrans" cxnId="{61A13B13-671D-4640-8A34-4FC9254A447C}">
      <dgm:prSet/>
      <dgm:spPr/>
      <dgm:t>
        <a:bodyPr/>
        <a:lstStyle/>
        <a:p>
          <a:endParaRPr lang="ru-RU"/>
        </a:p>
      </dgm:t>
    </dgm:pt>
    <dgm:pt modelId="{206184A0-B675-4EA4-85EA-0CA50AC2400F}" type="sibTrans" cxnId="{61A13B13-671D-4640-8A34-4FC9254A447C}">
      <dgm:prSet/>
      <dgm:spPr/>
      <dgm:t>
        <a:bodyPr/>
        <a:lstStyle/>
        <a:p>
          <a:endParaRPr lang="ru-RU"/>
        </a:p>
      </dgm:t>
    </dgm:pt>
    <dgm:pt modelId="{4AD57A92-67F4-4970-9BA8-50AD13C62FF8}">
      <dgm:prSet phldrT="[Текст]"/>
      <dgm:spPr/>
      <dgm:t>
        <a:bodyPr/>
        <a:lstStyle/>
        <a:p>
          <a:r>
            <a:rPr lang="ru-RU" dirty="0" smtClean="0"/>
            <a:t>Повышение качества управления образовательной организацией.</a:t>
          </a:r>
          <a:endParaRPr lang="ru-RU" dirty="0"/>
        </a:p>
      </dgm:t>
    </dgm:pt>
    <dgm:pt modelId="{2B3CAE1B-0B92-4C4F-ACEF-9E97066B5D41}" type="parTrans" cxnId="{48BD5884-6300-462D-B3B2-286D2C71015A}">
      <dgm:prSet/>
      <dgm:spPr/>
      <dgm:t>
        <a:bodyPr/>
        <a:lstStyle/>
        <a:p>
          <a:endParaRPr lang="ru-RU"/>
        </a:p>
      </dgm:t>
    </dgm:pt>
    <dgm:pt modelId="{8792E7C6-B780-41B4-BC7D-4BA36E102733}" type="sibTrans" cxnId="{48BD5884-6300-462D-B3B2-286D2C71015A}">
      <dgm:prSet/>
      <dgm:spPr/>
      <dgm:t>
        <a:bodyPr/>
        <a:lstStyle/>
        <a:p>
          <a:endParaRPr lang="ru-RU"/>
        </a:p>
      </dgm:t>
    </dgm:pt>
    <dgm:pt modelId="{2D9F4150-3CF1-4888-98C2-6EC7544B3642}">
      <dgm:prSet phldrT="[Текст]"/>
      <dgm:spPr/>
      <dgm:t>
        <a:bodyPr/>
        <a:lstStyle/>
        <a:p>
          <a:r>
            <a:rPr lang="ru-RU" dirty="0" smtClean="0"/>
            <a:t>Через специальные (адаптированные) требования к ресурсам, используемым при обучении детей с ОВЗ</a:t>
          </a:r>
          <a:endParaRPr lang="ru-RU" dirty="0"/>
        </a:p>
      </dgm:t>
    </dgm:pt>
    <dgm:pt modelId="{8687C3B6-87EC-4700-9B39-61A6391BD1FC}" type="parTrans" cxnId="{32D82129-82E0-4E76-9DF7-57D15CA6863A}">
      <dgm:prSet/>
      <dgm:spPr/>
      <dgm:t>
        <a:bodyPr/>
        <a:lstStyle/>
        <a:p>
          <a:endParaRPr lang="ru-RU"/>
        </a:p>
      </dgm:t>
    </dgm:pt>
    <dgm:pt modelId="{9EE2B0E8-26C7-4BFF-8760-1CF5E418DC1B}" type="sibTrans" cxnId="{32D82129-82E0-4E76-9DF7-57D15CA6863A}">
      <dgm:prSet/>
      <dgm:spPr/>
      <dgm:t>
        <a:bodyPr/>
        <a:lstStyle/>
        <a:p>
          <a:endParaRPr lang="ru-RU"/>
        </a:p>
      </dgm:t>
    </dgm:pt>
    <dgm:pt modelId="{E14F0C8E-610C-4023-A500-1042358BAA0B}" type="pres">
      <dgm:prSet presAssocID="{4BB26AB7-D3DF-421C-998E-102D7B201FAF}" presName="composite" presStyleCnt="0">
        <dgm:presLayoutVars>
          <dgm:chMax val="5"/>
          <dgm:dir/>
          <dgm:animLvl val="ctr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F35D03DA-187E-4CA3-8C15-01D1E1F5E08D}" type="pres">
      <dgm:prSet presAssocID="{4BB26AB7-D3DF-421C-998E-102D7B201FAF}" presName="cycle" presStyleCnt="0"/>
      <dgm:spPr/>
    </dgm:pt>
    <dgm:pt modelId="{78BAA79A-9352-4AA7-ABBA-AA4AFEDB91EF}" type="pres">
      <dgm:prSet presAssocID="{4BB26AB7-D3DF-421C-998E-102D7B201FAF}" presName="centerShape" presStyleCnt="0"/>
      <dgm:spPr/>
    </dgm:pt>
    <dgm:pt modelId="{AA6D1189-7741-4158-B63D-B48BC641300A}" type="pres">
      <dgm:prSet presAssocID="{4BB26AB7-D3DF-421C-998E-102D7B201FAF}" presName="connSite" presStyleLbl="node1" presStyleIdx="0" presStyleCnt="4"/>
      <dgm:spPr/>
    </dgm:pt>
    <dgm:pt modelId="{0E24BA5A-1441-44F2-B916-3FD0627AA88C}" type="pres">
      <dgm:prSet presAssocID="{4BB26AB7-D3DF-421C-998E-102D7B201FAF}" presName="visible" presStyleLbl="node1" presStyleIdx="0" presStyleCnt="4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6000" r="-6000"/>
          </a:stretch>
        </a:blipFill>
      </dgm:spPr>
      <dgm:t>
        <a:bodyPr/>
        <a:lstStyle/>
        <a:p>
          <a:endParaRPr lang="ru-RU"/>
        </a:p>
      </dgm:t>
    </dgm:pt>
    <dgm:pt modelId="{6AF21D59-2247-4658-9803-F83F5421758F}" type="pres">
      <dgm:prSet presAssocID="{8C6F6FAA-6240-4E4F-87B1-10B1378B1F12}" presName="Name25" presStyleLbl="parChTrans1D1" presStyleIdx="0" presStyleCnt="3"/>
      <dgm:spPr/>
      <dgm:t>
        <a:bodyPr/>
        <a:lstStyle/>
        <a:p>
          <a:endParaRPr lang="ru-RU"/>
        </a:p>
      </dgm:t>
    </dgm:pt>
    <dgm:pt modelId="{A253E59F-8C3D-4D4E-A7C2-C28533EED860}" type="pres">
      <dgm:prSet presAssocID="{1BE29CB6-96F7-4DA6-8DDC-52F108CA82A3}" presName="node" presStyleCnt="0"/>
      <dgm:spPr/>
    </dgm:pt>
    <dgm:pt modelId="{8FCB2FB7-E44A-4524-8FF6-1DD5A8E17CCB}" type="pres">
      <dgm:prSet presAssocID="{1BE29CB6-96F7-4DA6-8DDC-52F108CA82A3}" presName="parentNode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3BA057B-A2AD-44C8-9A16-8679B9286820}" type="pres">
      <dgm:prSet presAssocID="{1BE29CB6-96F7-4DA6-8DDC-52F108CA82A3}" presName="childNode" presStyleLbl="revTx" presStyleIdx="0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4A3F35-5068-4A40-A817-80E78ADBE0AD}" type="pres">
      <dgm:prSet presAssocID="{A139B212-CA79-4194-8B17-ABE7E7EE3936}" presName="Name25" presStyleLbl="parChTrans1D1" presStyleIdx="1" presStyleCnt="3"/>
      <dgm:spPr/>
      <dgm:t>
        <a:bodyPr/>
        <a:lstStyle/>
        <a:p>
          <a:endParaRPr lang="ru-RU"/>
        </a:p>
      </dgm:t>
    </dgm:pt>
    <dgm:pt modelId="{99C60476-EF16-46E9-98BF-A2B4661D133A}" type="pres">
      <dgm:prSet presAssocID="{FECAD9C2-7C04-4400-9306-A90C84783D83}" presName="node" presStyleCnt="0"/>
      <dgm:spPr/>
    </dgm:pt>
    <dgm:pt modelId="{2E4FE3C7-6824-43E4-886E-990E89F95406}" type="pres">
      <dgm:prSet presAssocID="{FECAD9C2-7C04-4400-9306-A90C84783D83}" presName="parentNode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F1AC049-1CCA-48A0-9A45-B91E81F9E774}" type="pres">
      <dgm:prSet presAssocID="{FECAD9C2-7C04-4400-9306-A90C84783D83}" presName="childNode" presStyleLbl="revTx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1809108-DFE1-47C9-8943-BEBAA26CE880}" type="pres">
      <dgm:prSet presAssocID="{CD56B681-7373-4176-8BBD-77C3070D26EF}" presName="Name25" presStyleLbl="parChTrans1D1" presStyleIdx="2" presStyleCnt="3"/>
      <dgm:spPr/>
      <dgm:t>
        <a:bodyPr/>
        <a:lstStyle/>
        <a:p>
          <a:endParaRPr lang="ru-RU"/>
        </a:p>
      </dgm:t>
    </dgm:pt>
    <dgm:pt modelId="{F2F8C565-E5FC-427E-BEDC-0FB016EDCE87}" type="pres">
      <dgm:prSet presAssocID="{094A4D34-82B2-4634-B833-F3E6CA557428}" presName="node" presStyleCnt="0"/>
      <dgm:spPr/>
    </dgm:pt>
    <dgm:pt modelId="{E7DAB2E2-FC24-4D3E-A109-AB0DEB6E53A2}" type="pres">
      <dgm:prSet presAssocID="{094A4D34-82B2-4634-B833-F3E6CA557428}" presName="parentNode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3934E89-8DB2-4E84-BE4A-33392A96E1D9}" type="pres">
      <dgm:prSet presAssocID="{094A4D34-82B2-4634-B833-F3E6CA557428}" presName="childNode" presStyleLbl="revTx" presStyleIdx="2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1EB473B-0206-471C-8EAC-17300B2D63C7}" srcId="{4BB26AB7-D3DF-421C-998E-102D7B201FAF}" destId="{FECAD9C2-7C04-4400-9306-A90C84783D83}" srcOrd="1" destOrd="0" parTransId="{A139B212-CA79-4194-8B17-ABE7E7EE3936}" sibTransId="{2186F962-6EB2-47E5-8A38-7837FDA7112D}"/>
    <dgm:cxn modelId="{93431C0E-B80E-4619-B57C-D7DE4A7E80DE}" type="presOf" srcId="{8C6F6FAA-6240-4E4F-87B1-10B1378B1F12}" destId="{6AF21D59-2247-4658-9803-F83F5421758F}" srcOrd="0" destOrd="0" presId="urn:microsoft.com/office/officeart/2005/8/layout/radial2"/>
    <dgm:cxn modelId="{E6AF4E6A-AD06-4827-9C8E-D16371E2B7F6}" type="presOf" srcId="{4BB26AB7-D3DF-421C-998E-102D7B201FAF}" destId="{E14F0C8E-610C-4023-A500-1042358BAA0B}" srcOrd="0" destOrd="0" presId="urn:microsoft.com/office/officeart/2005/8/layout/radial2"/>
    <dgm:cxn modelId="{64BCBFDF-BC54-47C3-AFDE-2984D909BE40}" type="presOf" srcId="{FECAD9C2-7C04-4400-9306-A90C84783D83}" destId="{2E4FE3C7-6824-43E4-886E-990E89F95406}" srcOrd="0" destOrd="0" presId="urn:microsoft.com/office/officeart/2005/8/layout/radial2"/>
    <dgm:cxn modelId="{DA384BE0-93DD-434D-B509-811CD521CCAD}" type="presOf" srcId="{4AD57A92-67F4-4970-9BA8-50AD13C62FF8}" destId="{63934E89-8DB2-4E84-BE4A-33392A96E1D9}" srcOrd="0" destOrd="1" presId="urn:microsoft.com/office/officeart/2005/8/layout/radial2"/>
    <dgm:cxn modelId="{74414B38-2A85-4443-B7F9-9A466AAF34F4}" type="presOf" srcId="{CDAA33E1-938C-44C9-92F8-38791B04795D}" destId="{DF1AC049-1CCA-48A0-9A45-B91E81F9E774}" srcOrd="0" destOrd="1" presId="urn:microsoft.com/office/officeart/2005/8/layout/radial2"/>
    <dgm:cxn modelId="{1F70D140-BC36-4DEE-961B-96E745C39EE6}" srcId="{4BB26AB7-D3DF-421C-998E-102D7B201FAF}" destId="{094A4D34-82B2-4634-B833-F3E6CA557428}" srcOrd="2" destOrd="0" parTransId="{CD56B681-7373-4176-8BBD-77C3070D26EF}" sibTransId="{253CE8AE-D504-4060-81DD-DC2A2F643DEF}"/>
    <dgm:cxn modelId="{81C47FF9-B883-464D-8CCC-017C041B617F}" type="presOf" srcId="{1BE29CB6-96F7-4DA6-8DDC-52F108CA82A3}" destId="{8FCB2FB7-E44A-4524-8FF6-1DD5A8E17CCB}" srcOrd="0" destOrd="0" presId="urn:microsoft.com/office/officeart/2005/8/layout/radial2"/>
    <dgm:cxn modelId="{C383E392-C060-46F1-A8B3-EB8EF658931D}" type="presOf" srcId="{094A4D34-82B2-4634-B833-F3E6CA557428}" destId="{E7DAB2E2-FC24-4D3E-A109-AB0DEB6E53A2}" srcOrd="0" destOrd="0" presId="urn:microsoft.com/office/officeart/2005/8/layout/radial2"/>
    <dgm:cxn modelId="{D831FE3E-5289-4212-8DD2-34BA3D4029EB}" type="presOf" srcId="{A139B212-CA79-4194-8B17-ABE7E7EE3936}" destId="{074A3F35-5068-4A40-A817-80E78ADBE0AD}" srcOrd="0" destOrd="0" presId="urn:microsoft.com/office/officeart/2005/8/layout/radial2"/>
    <dgm:cxn modelId="{E1132938-19DA-468A-BC7E-1BEC96995FAD}" srcId="{FECAD9C2-7C04-4400-9306-A90C84783D83}" destId="{4F0B3911-2B81-48BD-A605-F144F39AD623}" srcOrd="0" destOrd="0" parTransId="{A2DDD442-632E-4E3B-AB96-32E1E21E0642}" sibTransId="{78264DCC-45CE-46B0-A907-59D297CD0DE5}"/>
    <dgm:cxn modelId="{DF1A5994-FA1D-4738-811E-E0FAA7C83E2C}" srcId="{1BE29CB6-96F7-4DA6-8DDC-52F108CA82A3}" destId="{433EA884-AB61-4148-897D-513BAA18F123}" srcOrd="1" destOrd="0" parTransId="{B6940681-2BDC-4469-8606-F3B95217D034}" sibTransId="{8CAA7C59-72CD-48A8-8540-5B4D4BCB9EC7}"/>
    <dgm:cxn modelId="{15E6BE30-60A6-4247-B225-94FC7BA022FF}" srcId="{1BE29CB6-96F7-4DA6-8DDC-52F108CA82A3}" destId="{CF8E0837-F2C0-450B-9AC4-7E6190F1591D}" srcOrd="0" destOrd="0" parTransId="{A052FB20-7DA2-4A21-B8D3-29CFB89DDA74}" sibTransId="{C3F5FEC3-386A-488C-A613-F26CE905F3A1}"/>
    <dgm:cxn modelId="{3D7933B1-632E-469E-90AB-0999DFCAE541}" srcId="{FECAD9C2-7C04-4400-9306-A90C84783D83}" destId="{CDAA33E1-938C-44C9-92F8-38791B04795D}" srcOrd="1" destOrd="0" parTransId="{9444DDD6-F128-4760-BCFA-AF38A796EC15}" sibTransId="{FB08CA2F-F35D-483B-BE84-FD117A1BABB8}"/>
    <dgm:cxn modelId="{32D82129-82E0-4E76-9DF7-57D15CA6863A}" srcId="{1BE29CB6-96F7-4DA6-8DDC-52F108CA82A3}" destId="{2D9F4150-3CF1-4888-98C2-6EC7544B3642}" srcOrd="2" destOrd="0" parTransId="{8687C3B6-87EC-4700-9B39-61A6391BD1FC}" sibTransId="{9EE2B0E8-26C7-4BFF-8760-1CF5E418DC1B}"/>
    <dgm:cxn modelId="{BF42118F-B632-4805-B6F7-334C0D745267}" srcId="{4BB26AB7-D3DF-421C-998E-102D7B201FAF}" destId="{1BE29CB6-96F7-4DA6-8DDC-52F108CA82A3}" srcOrd="0" destOrd="0" parTransId="{8C6F6FAA-6240-4E4F-87B1-10B1378B1F12}" sibTransId="{DB405EEE-F3C2-46E8-B4FD-10F28069E277}"/>
    <dgm:cxn modelId="{441D98D4-C618-4B41-AA42-4EB37DB8964C}" type="presOf" srcId="{433EA884-AB61-4148-897D-513BAA18F123}" destId="{B3BA057B-A2AD-44C8-9A16-8679B9286820}" srcOrd="0" destOrd="1" presId="urn:microsoft.com/office/officeart/2005/8/layout/radial2"/>
    <dgm:cxn modelId="{48BD5884-6300-462D-B3B2-286D2C71015A}" srcId="{094A4D34-82B2-4634-B833-F3E6CA557428}" destId="{4AD57A92-67F4-4970-9BA8-50AD13C62FF8}" srcOrd="1" destOrd="0" parTransId="{2B3CAE1B-0B92-4C4F-ACEF-9E97066B5D41}" sibTransId="{8792E7C6-B780-41B4-BC7D-4BA36E102733}"/>
    <dgm:cxn modelId="{AE720121-69F1-4BDB-9623-21C024835022}" type="presOf" srcId="{CD56B681-7373-4176-8BBD-77C3070D26EF}" destId="{E1809108-DFE1-47C9-8943-BEBAA26CE880}" srcOrd="0" destOrd="0" presId="urn:microsoft.com/office/officeart/2005/8/layout/radial2"/>
    <dgm:cxn modelId="{61A13B13-671D-4640-8A34-4FC9254A447C}" srcId="{094A4D34-82B2-4634-B833-F3E6CA557428}" destId="{C459E3C6-447C-47F6-9CA8-62699D0CA31A}" srcOrd="0" destOrd="0" parTransId="{A1AA4BAC-810A-492C-8D7E-710EAD4C2EB3}" sibTransId="{206184A0-B675-4EA4-85EA-0CA50AC2400F}"/>
    <dgm:cxn modelId="{58337256-176D-4738-891E-EC60B88CF0C0}" type="presOf" srcId="{CF8E0837-F2C0-450B-9AC4-7E6190F1591D}" destId="{B3BA057B-A2AD-44C8-9A16-8679B9286820}" srcOrd="0" destOrd="0" presId="urn:microsoft.com/office/officeart/2005/8/layout/radial2"/>
    <dgm:cxn modelId="{627607C0-440F-4254-9C94-4A007DA09C65}" type="presOf" srcId="{4F0B3911-2B81-48BD-A605-F144F39AD623}" destId="{DF1AC049-1CCA-48A0-9A45-B91E81F9E774}" srcOrd="0" destOrd="0" presId="urn:microsoft.com/office/officeart/2005/8/layout/radial2"/>
    <dgm:cxn modelId="{57A91E48-59AC-4B81-9B29-06E86A24ADCC}" type="presOf" srcId="{2D9F4150-3CF1-4888-98C2-6EC7544B3642}" destId="{B3BA057B-A2AD-44C8-9A16-8679B9286820}" srcOrd="0" destOrd="2" presId="urn:microsoft.com/office/officeart/2005/8/layout/radial2"/>
    <dgm:cxn modelId="{7E30F503-175A-4765-B8D6-238ED8B0E2B0}" type="presOf" srcId="{C459E3C6-447C-47F6-9CA8-62699D0CA31A}" destId="{63934E89-8DB2-4E84-BE4A-33392A96E1D9}" srcOrd="0" destOrd="0" presId="urn:microsoft.com/office/officeart/2005/8/layout/radial2"/>
    <dgm:cxn modelId="{485914A6-B313-42F7-B2DF-AB2A61D454E9}" type="presParOf" srcId="{E14F0C8E-610C-4023-A500-1042358BAA0B}" destId="{F35D03DA-187E-4CA3-8C15-01D1E1F5E08D}" srcOrd="0" destOrd="0" presId="urn:microsoft.com/office/officeart/2005/8/layout/radial2"/>
    <dgm:cxn modelId="{FC438624-AC2E-4D3D-9307-84E496296C61}" type="presParOf" srcId="{F35D03DA-187E-4CA3-8C15-01D1E1F5E08D}" destId="{78BAA79A-9352-4AA7-ABBA-AA4AFEDB91EF}" srcOrd="0" destOrd="0" presId="urn:microsoft.com/office/officeart/2005/8/layout/radial2"/>
    <dgm:cxn modelId="{3340F223-2581-485B-A464-3C2463D3A182}" type="presParOf" srcId="{78BAA79A-9352-4AA7-ABBA-AA4AFEDB91EF}" destId="{AA6D1189-7741-4158-B63D-B48BC641300A}" srcOrd="0" destOrd="0" presId="urn:microsoft.com/office/officeart/2005/8/layout/radial2"/>
    <dgm:cxn modelId="{D9B868C9-49D6-43A7-8EB5-A019E24CB97F}" type="presParOf" srcId="{78BAA79A-9352-4AA7-ABBA-AA4AFEDB91EF}" destId="{0E24BA5A-1441-44F2-B916-3FD0627AA88C}" srcOrd="1" destOrd="0" presId="urn:microsoft.com/office/officeart/2005/8/layout/radial2"/>
    <dgm:cxn modelId="{E17534CA-AD6C-4F50-B3BA-990B98401CB1}" type="presParOf" srcId="{F35D03DA-187E-4CA3-8C15-01D1E1F5E08D}" destId="{6AF21D59-2247-4658-9803-F83F5421758F}" srcOrd="1" destOrd="0" presId="urn:microsoft.com/office/officeart/2005/8/layout/radial2"/>
    <dgm:cxn modelId="{2BFE86E6-AEB4-4017-987B-12AD4EDD0112}" type="presParOf" srcId="{F35D03DA-187E-4CA3-8C15-01D1E1F5E08D}" destId="{A253E59F-8C3D-4D4E-A7C2-C28533EED860}" srcOrd="2" destOrd="0" presId="urn:microsoft.com/office/officeart/2005/8/layout/radial2"/>
    <dgm:cxn modelId="{BAD11595-8619-4BBA-90E6-FD121245BF25}" type="presParOf" srcId="{A253E59F-8C3D-4D4E-A7C2-C28533EED860}" destId="{8FCB2FB7-E44A-4524-8FF6-1DD5A8E17CCB}" srcOrd="0" destOrd="0" presId="urn:microsoft.com/office/officeart/2005/8/layout/radial2"/>
    <dgm:cxn modelId="{598ED13B-8187-4D53-A711-B86A3CD3ED4C}" type="presParOf" srcId="{A253E59F-8C3D-4D4E-A7C2-C28533EED860}" destId="{B3BA057B-A2AD-44C8-9A16-8679B9286820}" srcOrd="1" destOrd="0" presId="urn:microsoft.com/office/officeart/2005/8/layout/radial2"/>
    <dgm:cxn modelId="{A5A1C067-3513-48A8-8C7E-D1FC35F0EDE9}" type="presParOf" srcId="{F35D03DA-187E-4CA3-8C15-01D1E1F5E08D}" destId="{074A3F35-5068-4A40-A817-80E78ADBE0AD}" srcOrd="3" destOrd="0" presId="urn:microsoft.com/office/officeart/2005/8/layout/radial2"/>
    <dgm:cxn modelId="{C00047D8-024F-4DF0-850C-32B1C2A7EDA1}" type="presParOf" srcId="{F35D03DA-187E-4CA3-8C15-01D1E1F5E08D}" destId="{99C60476-EF16-46E9-98BF-A2B4661D133A}" srcOrd="4" destOrd="0" presId="urn:microsoft.com/office/officeart/2005/8/layout/radial2"/>
    <dgm:cxn modelId="{D5E2C237-9D2C-4F5C-AF14-61A9AAF5DA9B}" type="presParOf" srcId="{99C60476-EF16-46E9-98BF-A2B4661D133A}" destId="{2E4FE3C7-6824-43E4-886E-990E89F95406}" srcOrd="0" destOrd="0" presId="urn:microsoft.com/office/officeart/2005/8/layout/radial2"/>
    <dgm:cxn modelId="{55CAD65C-A7F4-4F30-AA81-578F764CB489}" type="presParOf" srcId="{99C60476-EF16-46E9-98BF-A2B4661D133A}" destId="{DF1AC049-1CCA-48A0-9A45-B91E81F9E774}" srcOrd="1" destOrd="0" presId="urn:microsoft.com/office/officeart/2005/8/layout/radial2"/>
    <dgm:cxn modelId="{B962DADD-52DC-41AB-9274-FDE617375E49}" type="presParOf" srcId="{F35D03DA-187E-4CA3-8C15-01D1E1F5E08D}" destId="{E1809108-DFE1-47C9-8943-BEBAA26CE880}" srcOrd="5" destOrd="0" presId="urn:microsoft.com/office/officeart/2005/8/layout/radial2"/>
    <dgm:cxn modelId="{71E84507-111D-4B22-B0A3-F17F51876F7F}" type="presParOf" srcId="{F35D03DA-187E-4CA3-8C15-01D1E1F5E08D}" destId="{F2F8C565-E5FC-427E-BEDC-0FB016EDCE87}" srcOrd="6" destOrd="0" presId="urn:microsoft.com/office/officeart/2005/8/layout/radial2"/>
    <dgm:cxn modelId="{90005F82-1D6B-4565-8E42-001B77182859}" type="presParOf" srcId="{F2F8C565-E5FC-427E-BEDC-0FB016EDCE87}" destId="{E7DAB2E2-FC24-4D3E-A109-AB0DEB6E53A2}" srcOrd="0" destOrd="0" presId="urn:microsoft.com/office/officeart/2005/8/layout/radial2"/>
    <dgm:cxn modelId="{93C89891-43AD-4368-83F2-F945161A10F1}" type="presParOf" srcId="{F2F8C565-E5FC-427E-BEDC-0FB016EDCE87}" destId="{63934E89-8DB2-4E84-BE4A-33392A96E1D9}" srcOrd="1" destOrd="0" presId="urn:microsoft.com/office/officeart/2005/8/layout/radial2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1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10.xml><?xml version="1.0" encoding="utf-8"?>
<dgm:layoutDef xmlns:dgm="http://schemas.openxmlformats.org/drawingml/2006/diagram" xmlns:a="http://schemas.openxmlformats.org/drawingml/2006/main" uniqueId="urn:microsoft.com/office/officeart/2005/8/layout/bProcess4">
  <dgm:title val=""/>
  <dgm:desc val=""/>
  <dgm:catLst>
    <dgm:cat type="process" pri="19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  <dgm:pt modelId="7">
          <dgm:prSet phldr="1"/>
        </dgm:pt>
        <dgm:pt modelId="8">
          <dgm:prSet phldr="1"/>
        </dgm:pt>
        <dgm:pt modelId="9">
          <dgm:prSet phldr="1"/>
        </dgm:pt>
      </dgm:ptLst>
      <dgm:cxnLst>
        <dgm:cxn modelId="10" srcId="0" destId="1" srcOrd="0" destOrd="0"/>
        <dgm:cxn modelId="11" srcId="0" destId="2" srcOrd="1" destOrd="0"/>
        <dgm:cxn modelId="12" srcId="0" destId="3" srcOrd="2" destOrd="0"/>
        <dgm:cxn modelId="13" srcId="0" destId="4" srcOrd="3" destOrd="0"/>
        <dgm:cxn modelId="14" srcId="0" destId="5" srcOrd="4" destOrd="0"/>
        <dgm:cxn modelId="15" srcId="0" destId="6" srcOrd="5" destOrd="0"/>
        <dgm:cxn modelId="16" srcId="0" destId="7" srcOrd="6" destOrd="0"/>
        <dgm:cxn modelId="17" srcId="0" destId="8" srcOrd="7" destOrd="0"/>
        <dgm:cxn modelId="18" srcId="0" destId="9" srcOrd="8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Name0">
    <dgm:varLst>
      <dgm:dir/>
      <dgm:resizeHandles/>
    </dgm:varLst>
    <dgm:choose name="Name1">
      <dgm:if name="Name2" func="var" arg="dir" op="equ" val="norm">
        <dgm:alg type="snake">
          <dgm:param type="grDir" val="tL"/>
          <dgm:param type="flowDir" val="col"/>
          <dgm:param type="contDir" val="revDir"/>
          <dgm:param type="bkpt" val="bal"/>
        </dgm:alg>
      </dgm:if>
      <dgm:else name="Name3">
        <dgm:alg type="snake">
          <dgm:param type="grDir" val="tR"/>
          <dgm:param type="flowDir" val="col"/>
          <dgm:param type="contDir" val="revDir"/>
          <dgm:param type="bkpt" val="bal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w" fact="0.6"/>
      <dgm:constr type="h" for="ch" forName="sibTrans" refType="h" refFor="ch" refForName="compNode" op="equ" fact="0.25"/>
      <dgm:constr type="sp" refType="w" fact="0.33"/>
      <dgm:constr type="primFontSz" for="des" forName="node" op="equ" val="65"/>
    </dgm:constrLst>
    <dgm:ruleLst/>
    <dgm:forEach name="nodes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hoose name="Name4">
          <dgm:if name="Name5" axis="self" func="var" arg="dir" op="equ" val="norm">
            <dgm:constrLst>
              <dgm:constr type="l" for="ch" forName="dummyConnPt" refType="w" fact="0.2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if>
          <dgm:else name="Name6">
            <dgm:constrLst>
              <dgm:constr type="l" for="ch" forName="dummyConnPt" refType="w" fact="0.8"/>
              <dgm:constr type="t" for="ch" forName="dummyConnPt" refType="w" fact="0.145"/>
              <dgm:constr type="l" for="ch" forName="node"/>
              <dgm:constr type="t" for="ch" forName="node"/>
              <dgm:constr type="h" for="ch" forName="node" refType="h"/>
              <dgm:constr type="w" for="ch" forName="node" refType="w"/>
            </dgm:constrLst>
          </dgm:else>
        </dgm:choose>
        <dgm:ruleLst/>
        <dgm:layoutNode name="dummyConnPt" styleLbl="node1" moveWith="node">
          <dgm:alg type="sp"/>
          <dgm:shape xmlns:r="http://schemas.openxmlformats.org/officeDocument/2006/relationships" r:blip="">
            <dgm:adjLst/>
          </dgm:shape>
          <dgm:presOf/>
          <dgm:constrLst>
            <dgm:constr type="w" val="1"/>
            <dgm:constr type="h" val="1"/>
          </dgm:constrLst>
          <dgm:ruleLst/>
        </dgm:layoutNode>
        <dgm:layoutNode name="node">
          <dgm:varLst>
            <dgm:bulletEnabled val="1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desOrSelf" ptType="node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  <dgm:constr type="primFontSz" val="65"/>
          </dgm:constrLst>
          <dgm:ruleLst>
            <dgm:rule type="primFontSz" val="5" fact="NaN" max="NaN"/>
          </dgm:ruleLst>
        </dgm:layoutNode>
      </dgm:layoutNode>
      <dgm:forEach name="sibTransForEach" axis="followSib" cnt="1">
        <dgm:layoutNode name="sibTrans" styleLbl="bgSibTrans2D1">
          <dgm:choose name="Name7">
            <dgm:if name="Name8" axis="self" func="var" arg="dir" op="equ" val="norm">
              <dgm:alg type="conn">
                <dgm:param type="srcNode" val="dummyConnPt"/>
                <dgm:param type="dstNode" val="dummyConnPt"/>
                <dgm:param type="begPts" val="bCtr, midR, tCtr"/>
                <dgm:param type="endPts" val="tCtr, midL, bCtr"/>
                <dgm:param type="begSty" val="noArr"/>
                <dgm:param type="endSty" val="noArr"/>
              </dgm:alg>
            </dgm:if>
            <dgm:else name="Name9">
              <dgm:alg type="conn">
                <dgm:param type="srcNode" val="dummyConnPt"/>
                <dgm:param type="dstNode" val="dummyConnPt"/>
                <dgm:param type="begPts" val="bCtr, midL, tCtr"/>
                <dgm:param type="endPts" val="tCtr, midR, bCtr"/>
                <dgm:param type="begSty" val="noArr"/>
                <dgm:param type="endSty" val="noArr"/>
              </dgm:alg>
            </dgm:else>
          </dgm:choose>
          <dgm:shape xmlns:r="http://schemas.openxmlformats.org/officeDocument/2006/relationships" type="conn" r:blip="" zOrderOff="-2">
            <dgm:adjLst/>
          </dgm:shape>
          <dgm:presOf axis="self"/>
          <dgm:constrLst>
            <dgm:constr type="begPad"/>
            <dgm:constr type="endPad"/>
          </dgm:constrLst>
          <dgm:ruleLst/>
        </dgm:layoutNode>
      </dgm:forEach>
    </dgm:forEach>
  </dgm:layoutNode>
</dgm:layoutDef>
</file>

<file path=ppt/diagrams/layout1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12.xml><?xml version="1.0" encoding="utf-8"?>
<dgm:layoutDef xmlns:dgm="http://schemas.openxmlformats.org/drawingml/2006/diagram" xmlns:a="http://schemas.openxmlformats.org/drawingml/2006/main" uniqueId="urn:microsoft.com/office/officeart/2005/8/layout/hierarchy4">
  <dgm:title val=""/>
  <dgm:desc val=""/>
  <dgm:catLst>
    <dgm:cat type="hierarchy" pri="4000"/>
    <dgm:cat type="list" pri="24000"/>
    <dgm:cat type="relationship" pri="1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/>
    </dgm:varLst>
    <dgm:choose name="Name1">
      <dgm:if name="Name2" func="var" arg="dir" op="equ" val="norm">
        <dgm:alg type="lin">
          <dgm:param type="linDir" val="fromL"/>
          <dgm:param type="nodeVertAlign" val="t"/>
        </dgm:alg>
      </dgm:if>
      <dgm:else name="Name3">
        <dgm:alg type="lin">
          <dgm:param type="linDir" val="fromR"/>
          <dgm:param type="nodeVertAlign" val="t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vertOne" refType="w"/>
      <dgm:constr type="w" for="des" forName="horzOne" refType="w"/>
      <dgm:constr type="w" for="des" forName="txOne" refType="w"/>
      <dgm:constr type="w" for="des" forName="vertTwo" refType="w"/>
      <dgm:constr type="w" for="des" forName="horzTwo" refType="w"/>
      <dgm:constr type="w" for="des" forName="txTwo" refType="w"/>
      <dgm:constr type="w" for="des" forName="vertThree" refType="w"/>
      <dgm:constr type="w" for="des" forName="horzThree" refType="w"/>
      <dgm:constr type="w" for="des" forName="txThree" refType="w"/>
      <dgm:constr type="w" for="des" forName="vertFour" refType="w"/>
      <dgm:constr type="w" for="des" forName="horzFour" refType="w"/>
      <dgm:constr type="w" for="des" forName="txFour" refType="w"/>
      <dgm:constr type="h" for="des" ptType="node" op="equ"/>
      <dgm:constr type="h" for="des" forName="txOne" refType="h"/>
      <dgm:constr type="userH" for="des" ptType="node" refType="h" refFor="des" refForName="txOne"/>
      <dgm:constr type="primFontSz" for="des" forName="txOne" val="65"/>
      <dgm:constr type="primFontSz" for="des" forName="txTwo" val="65"/>
      <dgm:constr type="primFontSz" for="des" forName="txTwo" refType="primFontSz" refFor="des" refForName="txOne" op="lte"/>
      <dgm:constr type="primFontSz" for="des" forName="txThree" val="65"/>
      <dgm:constr type="primFontSz" for="des" forName="txThree" refType="primFontSz" refFor="des" refForName="txOne" op="lte"/>
      <dgm:constr type="primFontSz" for="des" forName="txThree" refType="primFontSz" refFor="des" refForName="txTwo" op="lte"/>
      <dgm:constr type="primFontSz" for="des" forName="txFour" val="65"/>
      <dgm:constr type="primFontSz" for="des" forName="txFour" refType="primFontSz" refFor="des" refForName="txOne" op="lte"/>
      <dgm:constr type="primFontSz" for="des" forName="txFour" refType="primFontSz" refFor="des" refForName="txTwo" op="lte"/>
      <dgm:constr type="primFontSz" for="des" forName="txFour" refType="primFontSz" refFor="des" refForName="txThree" op="lte"/>
      <dgm:constr type="w" for="des" forName="sibSpaceOne" refType="w" fact="0.168"/>
      <dgm:constr type="w" for="des" forName="sibSpaceTwo" refType="w" refFor="des" refForName="sibSpaceOne" op="equ" fact="0.5"/>
      <dgm:constr type="w" for="des" forName="sibSpaceThree" refType="w" refFor="des" refForName="sibSpaceTwo" op="equ" fact="0.5"/>
      <dgm:constr type="w" for="des" forName="sibSpaceFour" refType="w" refFor="des" refForName="sibSpaceThree" op="equ" fact="0.5"/>
      <dgm:constr type="h" for="des" forName="parTransOne" refType="w" fact="0.056"/>
      <dgm:constr type="h" for="des" forName="parTransTwo" refType="h" refFor="des" refForName="parTransOne" op="equ"/>
      <dgm:constr type="h" for="des" forName="parTransThree" refType="h" refFor="des" refForName="parTransTwo" op="equ"/>
      <dgm:constr type="h" for="des" forName="parTransFour" refType="h" refFor="des" refForName="parTransThree" op="equ"/>
    </dgm:constrLst>
    <dgm:ruleLst/>
    <dgm:forEach name="Name4" axis="ch" ptType="node">
      <dgm:layoutNode name="vertOne">
        <dgm:alg type="lin">
          <dgm:param type="linDir" val="fromT"/>
        </dgm:alg>
        <dgm:shape xmlns:r="http://schemas.openxmlformats.org/officeDocument/2006/relationships" r:blip="">
          <dgm:adjLst/>
        </dgm:shape>
        <dgm:presOf/>
        <dgm:constrLst>
          <dgm:constr type="w" for="ch" forName="txOne" refType="w" refFor="ch" refForName="horzOne" op="gte"/>
        </dgm:constrLst>
        <dgm:ruleLst/>
        <dgm:layoutNode name="txOne" styleLbl="node0">
          <dgm:varLst>
            <dgm:chPref val="3"/>
          </dgm:varLst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3"/>
            <dgm:constr type="bMarg" refType="primFontSz" fact="0.3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5">
          <dgm:if name="Name6" axis="des" ptType="node" func="cnt" op="gt" val="0">
            <dgm:layoutNode name="parTrans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if>
          <dgm:else name="Name7"/>
        </dgm:choose>
        <dgm:layoutNode name="horzOne">
          <dgm:choose name="Name8">
            <dgm:if name="Name9" func="var" arg="dir" op="equ" val="norm">
              <dgm:alg type="lin">
                <dgm:param type="linDir" val="fromL"/>
                <dgm:param type="nodeVertAlign" val="t"/>
              </dgm:alg>
            </dgm:if>
            <dgm:else name="Name10">
              <dgm:alg type="lin">
                <dgm:param type="linDir" val="fromR"/>
                <dgm:param type="nodeVertAlign" val="t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>
            <dgm:rule type="w" val="INF" fact="NaN" max="NaN"/>
          </dgm:ruleLst>
          <dgm:forEach name="Name11" axis="ch" ptType="node">
            <dgm:layoutNode name="vertTwo">
              <dgm:alg type="lin">
                <dgm:param type="linDir" val="fromT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xTwo" refType="w" refFor="ch" refForName="horzTwo" op="gte"/>
              </dgm:constrLst>
              <dgm:ruleLst/>
              <dgm:layoutNode name="txTwo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userH"/>
                  <dgm:constr type="h" refType="userH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choose name="Name12">
                <dgm:if name="Name13" axis="des" ptType="node" func="cnt" op="gt" val="0">
                  <dgm:layoutNode name="parTrans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if>
                <dgm:else name="Name14"/>
              </dgm:choose>
              <dgm:layoutNode name="horzTwo">
                <dgm:choose name="Name15">
                  <dgm:if name="Name16" func="var" arg="dir" op="equ" val="norm">
                    <dgm:alg type="lin">
                      <dgm:param type="linDir" val="fromL"/>
                      <dgm:param type="nodeVertAlign" val="t"/>
                    </dgm:alg>
                  </dgm:if>
                  <dgm:else name="Name17">
                    <dgm:alg type="lin">
                      <dgm:param type="linDir" val="fromR"/>
                      <dgm:param type="nodeVertAlign" val="t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>
                  <dgm:rule type="w" val="INF" fact="NaN" max="NaN"/>
                </dgm:ruleLst>
                <dgm:forEach name="Name18" axis="ch" ptType="node">
                  <dgm:layoutNode name="vertThree">
                    <dgm:alg type="lin">
                      <dgm:param type="linDir" val="fromT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w" for="ch" forName="txThree" refType="w" refFor="ch" refForName="horzThree" op="gte"/>
                    </dgm:constrLst>
                    <dgm:ruleLst/>
                    <dgm:layoutNode name="txThree">
                      <dgm:varLst>
                        <dgm:chPref val="3"/>
                      </dgm:varLst>
                      <dgm:alg type="tx"/>
                      <dgm:shape xmlns:r="http://schemas.openxmlformats.org/officeDocument/2006/relationships" type="roundRect" r:blip="">
                        <dgm:adjLst>
                          <dgm:adj idx="1" val="0.1"/>
                        </dgm:adjLst>
                      </dgm:shape>
                      <dgm:presOf axis="self"/>
                      <dgm:constrLst>
                        <dgm:constr type="userH"/>
                        <dgm:constr type="h" refType="userH"/>
                        <dgm:constr type="tMarg" refType="primFontSz" fact="0.3"/>
                        <dgm:constr type="bMarg" refType="primFontSz" fact="0.3"/>
                        <dgm:constr type="lMarg" refType="primFontSz" fact="0.3"/>
                        <dgm:constr type="rMarg" refType="primFontSz" fact="0.3"/>
                      </dgm:constrLst>
                      <dgm:ruleLst>
                        <dgm:rule type="primFontSz" val="5" fact="NaN" max="NaN"/>
                      </dgm:ruleLst>
                    </dgm:layoutNode>
                    <dgm:choose name="Name19">
                      <dgm:if name="Name20" axis="des" ptType="node" func="cnt" op="gt" val="0">
                        <dgm:layoutNode name="parTrans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if>
                      <dgm:else name="Name21"/>
                    </dgm:choose>
                    <dgm:layoutNode name="horzThree">
                      <dgm:choose name="Name22">
                        <dgm:if name="Name23" func="var" arg="dir" op="equ" val="norm">
                          <dgm:alg type="lin">
                            <dgm:param type="linDir" val="fromL"/>
                            <dgm:param type="nodeVertAlign" val="t"/>
                          </dgm:alg>
                        </dgm:if>
                        <dgm:else name="Name24">
                          <dgm:alg type="lin">
                            <dgm:param type="linDir" val="fromR"/>
                            <dgm:param type="nodeVertAlign" val="t"/>
                          </dgm:alg>
                        </dgm:else>
                      </dgm:choose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>
                        <dgm:rule type="w" val="INF" fact="NaN" max="NaN"/>
                      </dgm:ruleLst>
                      <dgm:forEach name="repeat" axis="ch" ptType="node">
                        <dgm:layoutNode name="vertFour">
                          <dgm:varLst>
                            <dgm:chPref val="3"/>
                          </dgm:varLst>
                          <dgm:alg type="lin">
                            <dgm:param type="linDir" val="fromT"/>
                          </dgm:alg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>
                            <dgm:constr type="w" for="ch" forName="txFour" refType="w" refFor="ch" refForName="horzFour" op="gte"/>
                          </dgm:constrLst>
                          <dgm:ruleLst/>
                          <dgm:layoutNode name="txFour">
                            <dgm:varLst>
                              <dgm:chPref val="3"/>
                            </dgm:varLst>
                            <dgm:alg type="tx"/>
                            <dgm:shape xmlns:r="http://schemas.openxmlformats.org/officeDocument/2006/relationships" type="roundRect" r:blip="">
                              <dgm:adjLst>
                                <dgm:adj idx="1" val="0.1"/>
                              </dgm:adjLst>
                            </dgm:shape>
                            <dgm:presOf axis="self"/>
                            <dgm:constrLst>
                              <dgm:constr type="userH"/>
                              <dgm:constr type="h" refType="userH"/>
                              <dgm:constr type="tMarg" refType="primFontSz" fact="0.3"/>
                              <dgm:constr type="bMarg" refType="primFontSz" fact="0.3"/>
                              <dgm:constr type="lMarg" refType="primFontSz" fact="0.3"/>
                              <dgm:constr type="rMarg" refType="primFontSz" fact="0.3"/>
                            </dgm:constrLst>
                            <dgm:ruleLst>
                              <dgm:rule type="primFontSz" val="5" fact="NaN" max="NaN"/>
                            </dgm:ruleLst>
                          </dgm:layoutNode>
                          <dgm:choose name="Name25">
                            <dgm:if name="Name26" axis="des" ptType="node" func="cnt" op="gt" val="0">
                              <dgm:layoutNode name="parTrans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if>
                            <dgm:else name="Name27"/>
                          </dgm:choose>
                          <dgm:layoutNode name="horzFour">
                            <dgm:choose name="Name28">
                              <dgm:if name="Name29" func="var" arg="dir" op="equ" val="norm">
                                <dgm:alg type="lin">
                                  <dgm:param type="linDir" val="fromL"/>
                                  <dgm:param type="nodeVertAlign" val="t"/>
                                </dgm:alg>
                              </dgm:if>
                              <dgm:else name="Name30">
                                <dgm:alg type="lin">
                                  <dgm:param type="linDir" val="fromR"/>
                                  <dgm:param type="nodeVertAlign" val="t"/>
                                </dgm:alg>
                              </dgm:else>
                            </dgm:choose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/>
                            <dgm:ruleLst>
                              <dgm:rule type="w" val="INF" fact="NaN" max="NaN"/>
                            </dgm:ruleLst>
                            <dgm:forEach name="Name31" ref="repeat"/>
                          </dgm:layoutNode>
                        </dgm:layoutNode>
                        <dgm:choose name="Name32">
                          <dgm:if name="Name33" axis="self" ptType="node" func="revPos" op="gte" val="2">
                            <dgm:forEach name="Name34" axis="followSib" ptType="sibTrans" cnt="1">
                              <dgm:layoutNode name="sibSpaceFour">
                                <dgm:alg type="sp"/>
                                <dgm:shape xmlns:r="http://schemas.openxmlformats.org/officeDocument/2006/relationships" r:blip="">
                                  <dgm:adjLst/>
                                </dgm:shape>
                                <dgm:presOf/>
                                <dgm:constrLst/>
                                <dgm:ruleLst/>
                              </dgm:layoutNode>
                            </dgm:forEach>
                          </dgm:if>
                          <dgm:else name="Name35"/>
                        </dgm:choose>
                      </dgm:forEach>
                    </dgm:layoutNode>
                  </dgm:layoutNode>
                  <dgm:choose name="Name36">
                    <dgm:if name="Name37" axis="self" ptType="node" func="revPos" op="gte" val="2">
                      <dgm:forEach name="Name38" axis="followSib" ptType="sibTrans" cnt="1">
                        <dgm:layoutNode name="sibSpaceThree">
                          <dgm:alg type="sp"/>
                          <dgm:shape xmlns:r="http://schemas.openxmlformats.org/officeDocument/2006/relationships" r:blip="">
                            <dgm:adjLst/>
                          </dgm:shape>
                          <dgm:presOf/>
                          <dgm:constrLst/>
                          <dgm:ruleLst/>
                        </dgm:layoutNode>
                      </dgm:forEach>
                    </dgm:if>
                    <dgm:else name="Name39"/>
                  </dgm:choose>
                </dgm:forEach>
              </dgm:layoutNode>
            </dgm:layoutNode>
            <dgm:choose name="Name40">
              <dgm:if name="Name41" axis="self" ptType="node" func="revPos" op="gte" val="2">
                <dgm:forEach name="Name42" axis="followSib" ptType="sibTrans" cnt="1">
                  <dgm:layoutNode name="sibSpaceTwo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forEach>
              </dgm:if>
              <dgm:else name="Name43"/>
            </dgm:choose>
          </dgm:forEach>
        </dgm:layoutNode>
      </dgm:layoutNode>
      <dgm:choose name="Name44">
        <dgm:if name="Name45" axis="self" ptType="node" func="revPos" op="gte" val="2">
          <dgm:forEach name="Name46" axis="followSib" ptType="sibTrans" cnt="1">
            <dgm:layoutNode name="sibSpaceOn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if>
        <dgm:else name="Name47"/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lProcess1">
  <dgm:title val=""/>
  <dgm:desc val=""/>
  <dgm:catLst>
    <dgm:cat type="process" pri="1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0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1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2"/>
      </dgm:ptLst>
      <dgm:cxnLst>
        <dgm:cxn modelId="3" srcId="0" destId="1" srcOrd="0" destOrd="0"/>
        <dgm:cxn modelId="4" srcId="0" destId="2" srcOrd="0" destOrd="0"/>
        <dgm:cxn modelId="5" srcId="1" destId="11" srcOrd="0" destOrd="0"/>
        <dgm:cxn modelId="6" srcId="2" destId="22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51" srcId="1" destId="11" srcOrd="0" destOrd="0"/>
        <dgm:cxn modelId="61" srcId="2" destId="21" srcOrd="0" destOrd="0"/>
        <dgm:cxn modelId="71" srcId="3" destId="31" srcOrd="0" destOrd="0"/>
        <dgm:cxn modelId="81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L"/>
          <dgm:param type="vertAlign" val="mid"/>
          <dgm:param type="nodeHorzAlign" val="l"/>
          <dgm:param type="nodeVertAlign" val="t"/>
          <dgm:param type="fallback" val="2D"/>
        </dgm:alg>
      </dgm:if>
      <dgm:else name="Name3">
        <dgm:alg type="lin">
          <dgm:param type="linDir" val="fromR"/>
          <dgm:param type="vertAlign" val="mid"/>
          <dgm:param type="nodeHorzAlign" val="r"/>
          <dgm:param type="nodeVertAlign" val="t"/>
          <dgm:param type="fallback" val="2D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header" refType="h"/>
      <dgm:constr type="w" for="des" forName="header" refType="h" refFor="des" refForName="header" op="equ" fact="4"/>
      <dgm:constr type="h" for="des" forName="child" refType="h" refFor="des" refForName="header" op="equ"/>
      <dgm:constr type="w" for="des" forName="child" refType="w" refFor="des" refForName="header" op="equ"/>
      <dgm:constr type="w" for="ch" forName="hSp" refType="w" refFor="des" refForName="header" op="equ" fact="0.14"/>
      <dgm:constr type="h" for="des" forName="parTrans" refType="h" refFor="des" refForName="header" op="equ" fact="0.35"/>
      <dgm:constr type="h" for="des" forName="sibTrans" refType="h" refFor="des" refForName="parTrans" op="equ"/>
      <dgm:constr type="primFontSz" for="des" forName="child" op="equ" val="65"/>
      <dgm:constr type="primFontSz" for="des" forName="header" op="equ" val="65"/>
    </dgm:constrLst>
    <dgm:ruleLst/>
    <dgm:forEach name="Name4" axis="ch" ptType="node">
      <dgm:layoutNode name="vertFlow">
        <dgm:choose name="Name5">
          <dgm:if name="Name6" func="var" arg="dir" op="equ" val="norm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if>
          <dgm:else name="Name7">
            <dgm:alg type="lin">
              <dgm:param type="linDir" val="fromT"/>
              <dgm:param type="nodeHorzAlign" val="ctr"/>
              <dgm:param type="nodeVertAlign" val="t"/>
              <dgm:param type="fallback" val="2D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header" styleLbl="node1">
          <dgm:alg type="tx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8" axis="ch" ptType="parTrans" cnt="1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w" refType="h"/>
              <dgm:constr type="connDist"/>
              <dgm:constr type="wArH" refType="h" fact="0.25"/>
              <dgm:constr type="hArH" refType="wArH" fact="2"/>
              <dgm:constr type="stemThick" refType="hArH" fact="0.667"/>
              <dgm:constr type="begPad" refType="connDist" fact="0.25"/>
              <dgm:constr type="endPad" refType="connDist" fact="0.25"/>
            </dgm:constrLst>
            <dgm:ruleLst/>
          </dgm:layoutNode>
        </dgm:forEach>
        <dgm:forEach name="Name9" axis="ch" ptType="node">
          <dgm:layoutNode name="child" styleLbl="alignAccFollowNode1">
            <dgm:varLst>
              <dgm:chMax val="0"/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  <dgm:forEach name="Name10" axis="followSib" ptType="sibTrans" cnt="1">
            <dgm:layoutNode name="sibTrans" styleLbl="sibTrans2D1">
              <dgm:alg type="conn">
                <dgm:param type="begPts" val="auto"/>
                <dgm:param type="endPts" val="auto"/>
              </dgm:alg>
              <dgm:shape xmlns:r="http://schemas.openxmlformats.org/officeDocument/2006/relationships" type="conn" r:blip="">
                <dgm:adjLst/>
              </dgm:shape>
              <dgm:presOf axis="self"/>
              <dgm:constrLst>
                <dgm:constr type="w" refType="h"/>
                <dgm:constr type="connDist"/>
                <dgm:constr type="wArH" refType="h" fact="0.25"/>
                <dgm:constr type="hArH" refType="wArH" fact="2"/>
                <dgm:constr type="stemThick" refType="hArH" fact="0.667"/>
                <dgm:constr type="begPad" refType="w" fact="0.25"/>
                <dgm:constr type="endPad" refType="w" fact="0.25"/>
              </dgm:constrLst>
              <dgm:ruleLst/>
            </dgm:layoutNode>
          </dgm:forEach>
        </dgm:forEach>
      </dgm:layoutNode>
      <dgm:choose name="Name11">
        <dgm:if name="Name12" axis="self" ptType="node" func="revPos" op="gte" val="2">
          <dgm:layoutNode name="hSp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13"/>
      </dgm:choose>
    </dgm:forEach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radial5">
  <dgm:title val=""/>
  <dgm:desc val=""/>
  <dgm:catLst>
    <dgm:cat type="relationship" pri="23000"/>
    <dgm:cat type="cycle" pri="1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Name0">
    <dgm:varLst>
      <dgm:chMax val="1"/>
      <dgm:dir/>
      <dgm:animLvl val="ctr"/>
      <dgm:resizeHandles val="exact"/>
    </dgm:varLst>
    <dgm:choose name="Name1">
      <dgm:if name="Name2" func="var" arg="dir" op="equ" val="norm">
        <dgm:alg type="cycle">
          <dgm:param type="stAng" val="0"/>
          <dgm:param type="spanAng" val="360"/>
          <dgm:param type="ctrShpMap" val="fNode"/>
        </dgm:alg>
      </dgm:if>
      <dgm:else name="Name3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parTrans" refType="w" refFor="ch" refForName="centerShape" fact="0.4"/>
      <dgm:constr type="w" for="ch" forName="node" refType="w" refFor="ch" refForName="centerShape" op="equ" fact="1.25"/>
      <dgm:constr type="sp" refType="w" refFor="ch" refForName="centerShape" op="equ" fact="0.4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node" refType="primFontSz" refFor="ch" refForName="centerShape" op="lte"/>
      <dgm:constr type="primFontSz" for="des" forName="connectorText" op="equ" val="55"/>
      <dgm:constr type="primFontSz" for="des" forName="connectorText" refType="primFontSz" refFor="ch" refForName="centerShape" op="lte" fact="0.8"/>
      <dgm:constr type="primFontSz" for="des" forName="connectorText" refType="primFontSz" refFor="des" refForName="node" op="lte"/>
    </dgm:constrLst>
    <dgm:choose name="Name4">
      <dgm:if name="Name5" axis="ch ch" ptType="node node" st="1 1" cnt="1 0" func="cnt" op="lte" val="6">
        <dgm:ruleLst>
          <dgm:rule type="w" for="ch" forName="node" val="NaN" fact="1" max="NaN"/>
        </dgm:ruleLst>
      </dgm:if>
      <dgm:if name="Name6" axis="ch ch" ptType="node node" st="1 1" cnt="1 0" func="cnt" op="lte" val="8">
        <dgm:ruleLst>
          <dgm:rule type="w" for="ch" forName="node" val="NaN" fact="0.9" max="NaN"/>
        </dgm:ruleLst>
      </dgm:if>
      <dgm:if name="Name7" axis="ch ch" ptType="node node" st="1 1" cnt="1 0" func="cnt" op="lte" val="10">
        <dgm:ruleLst>
          <dgm:rule type="w" for="ch" forName="node" val="NaN" fact="0.8" max="NaN"/>
        </dgm:ruleLst>
      </dgm:if>
      <dgm:if name="Name8" axis="ch ch" ptType="node node" st="1 1" cnt="1 0" func="cnt" op="lte" val="12">
        <dgm:ruleLst>
          <dgm:rule type="w" for="ch" forName="node" val="NaN" fact="0.7" max="NaN"/>
        </dgm:ruleLst>
      </dgm:if>
      <dgm:if name="Name9" axis="ch ch" ptType="node node" st="1 1" cnt="1 0" func="cnt" op="lte" val="14">
        <dgm:ruleLst>
          <dgm:rule type="w" for="ch" forName="node" val="NaN" fact="0.6" max="NaN"/>
        </dgm:ruleLst>
      </dgm:if>
      <dgm:else name="Name10">
        <dgm:ruleLst>
          <dgm:rule type="w" for="ch" forName="node" val="NaN" fact="0.5" max="NaN"/>
        </dgm:ruleLst>
      </dgm:else>
    </dgm:choose>
    <dgm:forEach name="Name11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1"/>
          <dgm:constr type="bMarg" refType="primFontSz" fact="0.1"/>
          <dgm:constr type="lMarg" refType="primFontSz" fact="0.1"/>
          <dgm:constr type="rMarg" refType="primFontSz" fact="0.1"/>
        </dgm:constrLst>
        <dgm:ruleLst>
          <dgm:rule type="primFontSz" val="5" fact="NaN" max="NaN"/>
        </dgm:ruleLst>
      </dgm:layoutNode>
      <dgm:forEach name="Name12" axis="ch">
        <dgm:forEach name="Name13" axis="self" ptType="parTrans">
          <dgm:layoutNode name="parTrans" styleLbl="sibTrans2D1">
            <dgm:alg type="conn">
              <dgm:param type="begPts" val="auto"/>
              <dgm:param type="endPts" val="auto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h" refType="w" fact="0.85"/>
            </dgm:constrLst>
            <dgm:ruleLst/>
            <dgm:layoutNode name="connectorText">
              <dgm:alg type="tx">
                <dgm:param type="autoTxRot" val="grav"/>
              </dgm:alg>
              <dgm:shape xmlns:r="http://schemas.openxmlformats.org/officeDocument/2006/relationships" type="conn" r:blip="" hideGeom="1">
                <dgm:adjLst/>
              </dgm:shape>
              <dgm:presOf axis="self"/>
              <dgm:constrLst>
                <dgm:constr type="lMarg"/>
                <dgm:constr type="rMarg"/>
                <dgm:constr type="tMarg"/>
                <dgm:constr type="bMarg"/>
              </dgm:constrLst>
              <dgm:ruleLst>
                <dgm:rule type="primFontSz" val="5" fact="NaN" max="NaN"/>
              </dgm:ruleLst>
            </dgm:layoutNode>
          </dgm:layoutNode>
        </dgm:forEach>
        <dgm:forEach name="Name14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w" val="INF" fact="NaN" max="NaN"/>
              <dgm:rule type="primFontSz" val="5" fact="NaN" max="NaN"/>
            </dgm:ruleLst>
          </dgm:layoutNode>
        </dgm:forEach>
      </dgm:forEach>
    </dgm:forEach>
  </dgm:layoutNode>
</dgm:layoutDef>
</file>

<file path=ppt/diagrams/layout9.xml><?xml version="1.0" encoding="utf-8"?>
<dgm:layoutDef xmlns:dgm="http://schemas.openxmlformats.org/drawingml/2006/diagram" xmlns:a="http://schemas.openxmlformats.org/drawingml/2006/main" uniqueId="urn:microsoft.com/office/officeart/2005/8/layout/radial2">
  <dgm:title val=""/>
  <dgm:desc val=""/>
  <dgm:catLst>
    <dgm:cat type="relationship" pri="20000"/>
    <dgm:cat type="convert" pri="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composite">
    <dgm:varLst>
      <dgm:chMax val="5"/>
      <dgm:dir/>
      <dgm:animLvl val="ctr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cycle" refType="w"/>
      <dgm:constr type="h" for="ch" forName="cycle" refType="h"/>
    </dgm:constrLst>
    <dgm:ruleLst/>
    <dgm:layoutNode name="cycle">
      <dgm:choose name="Name0">
        <dgm:if name="Name1" func="var" arg="dir" op="equ" val="norm">
          <dgm:choose name="Name2">
            <dgm:if name="Name3" axis="ch" ptType="node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if name="Name4" axis="ch" ptType="node" func="cnt" op="equ" val="2">
              <dgm:alg type="cycle">
                <dgm:param type="stAng" val="70"/>
                <dgm:param type="spanAng" val="40"/>
                <dgm:param type="ctrShpMap" val="fNode"/>
              </dgm:alg>
            </dgm:if>
            <dgm:if name="Name5" axis="ch" ptType="node" func="cnt" op="equ" val="3">
              <dgm:alg type="cycle">
                <dgm:param type="stAng" val="60"/>
                <dgm:param type="spanAng" val="60"/>
                <dgm:param type="ctrShpMap" val="fNode"/>
              </dgm:alg>
            </dgm:if>
            <dgm:else name="Name6">
              <dgm:alg type="cycle">
                <dgm:param type="stAng" val="45"/>
                <dgm:param type="spanAng" val="90"/>
                <dgm:param type="ctrShpMap" val="fNode"/>
              </dgm:alg>
            </dgm:else>
          </dgm:choose>
        </dgm:if>
        <dgm:else name="Name7">
          <dgm:choose name="Name8">
            <dgm:if name="Name9" axis="ch" ptType="node" func="cnt" op="lte" val="1">
              <dgm:alg type="cycle">
                <dgm:param type="stAng" val="-90"/>
                <dgm:param type="spanAng" val="-360"/>
                <dgm:param type="ctrShpMap" val="fNode"/>
              </dgm:alg>
            </dgm:if>
            <dgm:if name="Name10" axis="ch" ptType="node" func="cnt" op="equ" val="2">
              <dgm:alg type="cycle">
                <dgm:param type="stAng" val="-70"/>
                <dgm:param type="spanAng" val="-40"/>
                <dgm:param type="ctrShpMap" val="fNode"/>
              </dgm:alg>
            </dgm:if>
            <dgm:if name="Name11" axis="ch" ptType="node" func="cnt" op="equ" val="3">
              <dgm:alg type="cycle">
                <dgm:param type="stAng" val="-60"/>
                <dgm:param type="spanAng" val="-60"/>
                <dgm:param type="ctrShpMap" val="fNode"/>
              </dgm:alg>
            </dgm:if>
            <dgm:else name="Name12">
              <dgm:alg type="cycle">
                <dgm:param type="stAng" val="-45"/>
                <dgm:param type="spanAng" val="-90"/>
                <dgm:param type="ctrShpMap" val="fNode"/>
              </dgm:alg>
            </dgm:else>
          </dgm:choose>
        </dgm:else>
      </dgm:choose>
      <dgm:shape xmlns:r="http://schemas.openxmlformats.org/officeDocument/2006/relationships" r:blip="">
        <dgm:adjLst/>
      </dgm:shape>
      <dgm:presOf/>
      <dgm:constrLst>
        <dgm:constr type="sp" val="20"/>
        <dgm:constr type="w" for="ch" forName="centerShape" refType="w"/>
        <dgm:constr type="w" for="ch" forName="node" refType="w" refFor="ch" refForName="centerShape" fact="1.5"/>
        <dgm:constr type="sibSp" refType="w" refFor="ch" refForName="centerShape" op="equ" fact="0.08"/>
        <dgm:constr type="primFontSz" for="des" forName="parentNode" op="equ" val="65"/>
        <dgm:constr type="secFontSz" for="des" forName="childNode" op="equ" val="65"/>
      </dgm:constrLst>
      <dgm:ruleLst/>
      <dgm:choose name="Name13">
        <dgm:if name="Name14" axis="ch" ptType="node" hideLastTrans="0" func="cnt" op="gte" val="1">
          <dgm:layoutNode name="centerShape" styleLbl="node0">
            <dgm:alg type="composite"/>
            <dgm:shape xmlns:r="http://schemas.openxmlformats.org/officeDocument/2006/relationships" r:blip="">
              <dgm:adjLst/>
            </dgm:shape>
            <dgm:presOf axis="ch" ptType="node" cnt="1"/>
            <dgm:constrLst>
              <dgm:constr type="w" for="ch" forName="connSite" refType="w" fact="0.7"/>
              <dgm:constr type="h" for="ch" forName="connSite" refType="w" fact="0.7"/>
              <dgm:constr type="ctrX" for="ch" forName="connSite" refType="w" fact="0.5"/>
              <dgm:constr type="ctrY" for="ch" forName="connSite" refType="h" fact="0.5"/>
              <dgm:constr type="w" for="ch" forName="visible" refType="w"/>
              <dgm:constr type="h" for="ch" forName="visible" refType="w"/>
              <dgm:constr type="ctrX" for="ch" forName="visible" refType="w" fact="0.5"/>
              <dgm:constr type="ctrY" for="ch" forName="visible" refType="h" fact="0.5"/>
            </dgm:constrLst>
            <dgm:ruleLst/>
            <dgm:layoutNode name="connSite">
              <dgm:alg type="sp"/>
              <dgm:shape xmlns:r="http://schemas.openxmlformats.org/officeDocument/2006/relationships" type="ellipse" r:blip="" hideGeom="1">
                <dgm:adjLst/>
              </dgm:shape>
              <dgm:presOf/>
              <dgm:constrLst/>
              <dgm:ruleLst/>
            </dgm:layoutNode>
            <dgm:layoutNode name="visible">
              <dgm:alg type="sp"/>
              <dgm:shape xmlns:r="http://schemas.openxmlformats.org/officeDocument/2006/relationships" type="ellipse" r:blip="" blipPhldr="1">
                <dgm:adjLst/>
              </dgm:shape>
              <dgm:presOf/>
              <dgm:constrLst/>
              <dgm:ruleLst/>
            </dgm:layoutNode>
          </dgm:layoutNode>
        </dgm:if>
        <dgm:else name="Name15"/>
      </dgm:choose>
      <dgm:forEach name="Name16" axis="ch">
        <dgm:forEach name="Name17" axis="self" ptType="node">
          <dgm:layoutNode name="node">
            <dgm:alg type="composite"/>
            <dgm:shape xmlns:r="http://schemas.openxmlformats.org/officeDocument/2006/relationships" r:blip="">
              <dgm:adjLst/>
            </dgm:shape>
            <dgm:presOf/>
            <dgm:choose name="Name18">
              <dgm:if name="Name19" func="var" arg="dir" op="equ" val="norm">
                <dgm:constrLst>
                  <dgm:constr type="t" for="ch" forName="parentNode"/>
                  <dgm:constr type="l" for="ch" forName="parentNode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 refType="w" refFor="ch" refForName="parentNode" op="equ" fact="1.1"/>
                  <dgm:constr type="w" for="ch" forName="childNode" refType="w" fact="0.6"/>
                  <dgm:constr type="h" for="ch" forName="childNode" refType="h" refFor="ch" refForName="parentNode"/>
                </dgm:constrLst>
              </dgm:if>
              <dgm:else name="Name20">
                <dgm:constrLst>
                  <dgm:constr type="t" for="ch" forName="parentNode"/>
                  <dgm:constr type="r" for="ch" forName="parentNode" refType="w"/>
                  <dgm:constr type="w" for="ch" forName="parentNode" refType="w" fact="0.4"/>
                  <dgm:constr type="h" for="ch" forName="parentNode" refType="w" refFor="ch" refForName="parentNode" op="equ"/>
                  <dgm:constr type="ctrY" for="ch" forName="childNode" refType="h" refFor="ch" refForName="parentNode" fact="0.5"/>
                  <dgm:constr type="l" for="ch" forName="childNode"/>
                  <dgm:constr type="w" for="ch" forName="childNode" refType="w" fact="0.6"/>
                  <dgm:constr type="h" for="ch" forName="childNode" refType="h" refFor="ch" refForName="parentNode"/>
                </dgm:constrLst>
              </dgm:else>
            </dgm:choose>
            <dgm:ruleLst/>
            <dgm:layoutNode name="parentNode" styleLbl="node1">
              <dgm:varLst>
                <dgm:chMax val="1"/>
                <dgm:bulletEnabled val="1"/>
              </dgm:varLst>
              <dgm:alg type="tx"/>
              <dgm:shape xmlns:r="http://schemas.openxmlformats.org/officeDocument/2006/relationships" type="ellipse" r:blip="">
                <dgm:adjLst/>
              </dgm:shape>
              <dgm:presOf axis="self"/>
              <dgm:constrLst>
                <dgm:constr type="tMarg" refType="primFontSz" fact="0.05"/>
                <dgm:constr type="bMarg" refType="primFontSz" fact="0.05"/>
                <dgm:constr type="lMarg" refType="primFontSz" fact="0.05"/>
                <dgm:constr type="rMarg" refType="primFontSz" fact="0.05"/>
              </dgm:constrLst>
              <dgm:ruleLst>
                <dgm:rule type="primFontSz" val="5" fact="NaN" max="NaN"/>
              </dgm:ruleLst>
            </dgm:layoutNode>
            <dgm:layoutNode name="childNode" styleLbl="revTx" moveWith="parentNode">
              <dgm:varLst>
                <dgm:bulletEnabled val="1"/>
              </dgm:varLst>
              <dgm:alg type="tx">
                <dgm:param type="txAnchorVertCh" val="mid"/>
                <dgm:param type="stBulletLvl" val="1"/>
              </dgm:alg>
              <dgm:choose name="Name21">
                <dgm:if name="Name22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23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tMarg"/>
                <dgm:constr type="bMarg"/>
                <dgm:constr type="lMarg"/>
                <dgm:constr type="rMarg"/>
              </dgm:constrLst>
              <dgm:ruleLst>
                <dgm:rule type="secFontSz" val="5" fact="NaN" max="NaN"/>
              </dgm:ruleLst>
            </dgm:layoutNode>
          </dgm:layoutNode>
        </dgm:forEach>
        <dgm:forEach name="Name24" axis="self" ptType="parTrans" cnt="1">
          <dgm:layoutNode name="Name25">
            <dgm:alg type="conn">
              <dgm:param type="dim" val="1D"/>
              <dgm:param type="endSty" val="noArr"/>
              <dgm:param type="begPts" val="auto"/>
              <dgm:param type="endPts" val="auto"/>
              <dgm:param type="srcNode" val="connSite"/>
              <dgm:param type="dstNode" val="parentNode"/>
            </dgm:alg>
            <dgm:shape xmlns:r="http://schemas.openxmlformats.org/officeDocument/2006/relationships" type="conn" r:blip="" zOrderOff="-99">
              <dgm:adjLst/>
            </dgm:shape>
            <dgm:presOf axis="self"/>
            <dgm:constrLst>
              <dgm:constr type="connDist"/>
              <dgm:constr type="w" val="1"/>
              <dgm:constr type="h" val="5"/>
              <dgm:constr type="begPad"/>
              <dgm:constr type="endPad"/>
            </dgm:constrLst>
            <dgm:ruleLst/>
          </dgm:layoutNode>
        </dgm:forEach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0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1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9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29050" y="0"/>
            <a:ext cx="293052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6DAD4C-CFD2-47D3-B93D-939F5330EB9F}" type="datetimeFigureOut">
              <a:rPr lang="ru-RU" smtClean="0"/>
              <a:pPr/>
              <a:t>17.08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4038"/>
            <a:ext cx="29305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29050" y="9444038"/>
            <a:ext cx="2930525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451244-DDC3-4122-AEC3-2DEB83F4668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263736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29050" y="0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518A6C9-D5AC-E84C-B658-AD7D92776A0A}" type="datetimeFigureOut">
              <a:rPr lang="ru-RU" smtClean="0"/>
              <a:pPr/>
              <a:t>17.08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98463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6275" y="4784725"/>
            <a:ext cx="5408613" cy="3914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r>
              <a:rPr lang="ru-RU"/>
              <a:t>Образец текста
Второй уровень
Третий уровень
Четвертый уровень
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44038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29050" y="9444038"/>
            <a:ext cx="2930525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2B6868-6167-0A41-B6D5-4ACD1FA9CFF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764446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52B6868-6167-0A41-B6D5-4ACD1FA9CFFB}" type="slidenum">
              <a:rPr lang="ru-RU" smtClean="0"/>
              <a:pPr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193835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A8808A-BCC2-4075-92C8-B6644E6290B2}" type="datetime1">
              <a:rPr lang="ru-RU" smtClean="0"/>
              <a:pPr/>
              <a:t>17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10C84-21BF-45EB-93D2-B81AE586330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1788400-0658-4A70-88B7-291BA28E6087}" type="datetime1">
              <a:rPr lang="ru-RU" smtClean="0"/>
              <a:pPr/>
              <a:t>17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10C84-21BF-45EB-93D2-B81AE586330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CF2521A-57DF-4C4B-9C66-FDDB2F597331}" type="datetime1">
              <a:rPr lang="ru-RU" smtClean="0"/>
              <a:pPr/>
              <a:t>17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10C84-21BF-45EB-93D2-B81AE586330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. Title and Content - 1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BFFDEDE2-612E-44BA-97AF-BE2800D0205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AABDE05-52B6-4020-83AF-9DE428B90CD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1" i="0" baseline="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xmlns="" id="{231FB825-CF5F-4702-956D-6AA391FBC7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3573" y="167447"/>
            <a:ext cx="11073049" cy="1091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77469" tIns="38733" rIns="77469" bIns="38733" numCol="1" anchor="t" anchorCtr="0" compatLnSpc="1">
            <a:prstTxWarp prst="textNoShape">
              <a:avLst/>
            </a:prstTxWarp>
            <a:noAutofit/>
          </a:bodyPr>
          <a:lstStyle>
            <a:lvl1pPr>
              <a:defRPr lang="en-US" sz="1700" b="1" dirty="0">
                <a:solidFill>
                  <a:srgbClr val="343434"/>
                </a:solidFill>
                <a:ea typeface="+mn-ea"/>
                <a:cs typeface="+mn-cs"/>
              </a:defRPr>
            </a:lvl1pPr>
          </a:lstStyle>
          <a:p>
            <a:pPr marL="0" lvl="0" indent="0" algn="l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996CB316-C6BA-4A71-BD69-5C792EC61E9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08002" y="1619830"/>
            <a:ext cx="11079163" cy="169631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Slide Number Placeholder 1">
            <a:extLst>
              <a:ext uri="{FF2B5EF4-FFF2-40B4-BE49-F238E27FC236}">
                <a16:creationId xmlns:a16="http://schemas.microsoft.com/office/drawing/2014/main" xmlns="" id="{B93F75D9-C30E-4CA2-8807-34327E435F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181195" y="6632715"/>
            <a:ext cx="2743200" cy="187565"/>
          </a:xfrm>
        </p:spPr>
        <p:txBody>
          <a:bodyPr tIns="0" rIns="0"/>
          <a:lstStyle/>
          <a:p>
            <a:fld id="{37F5C94B-8C55-478B-B509-BAE6A06B2E2A}" type="slidenum">
              <a:rPr lang="en-US" sz="1000" smtClean="0">
                <a:solidFill>
                  <a:srgbClr val="ADAFBB"/>
                </a:solidFill>
              </a:rPr>
              <a:pPr/>
              <a:t>‹#›</a:t>
            </a:fld>
            <a:endParaRPr lang="en-US" sz="1000" dirty="0">
              <a:solidFill>
                <a:srgbClr val="ADAFBB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3490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6A5EC72-DC0A-4288-A51C-230F09492838}" type="datetime1">
              <a:rPr lang="ru-RU" smtClean="0"/>
              <a:pPr/>
              <a:t>17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10C84-21BF-45EB-93D2-B81AE586330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599314-F06D-4A77-B0D7-7508AFF81B4D}" type="datetime1">
              <a:rPr lang="ru-RU" smtClean="0"/>
              <a:pPr/>
              <a:t>17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10C84-21BF-45EB-93D2-B81AE586330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F841F6-7263-43F6-99B1-CE7FDB6FDA5D}" type="datetime1">
              <a:rPr lang="ru-RU" smtClean="0"/>
              <a:pPr/>
              <a:t>17.08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10C84-21BF-45EB-93D2-B81AE586330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D524BA-EFC9-47F9-8307-3BAC5A57C8B3}" type="datetime1">
              <a:rPr lang="ru-RU" smtClean="0"/>
              <a:pPr/>
              <a:t>17.08.2021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10C84-21BF-45EB-93D2-B81AE586330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9CDE78-644B-4138-BD0F-D95302950CE9}" type="datetime1">
              <a:rPr lang="ru-RU" smtClean="0"/>
              <a:pPr/>
              <a:t>17.08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10C84-21BF-45EB-93D2-B81AE586330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712967-08E8-4325-97EB-F3F0329F998F}" type="datetime1">
              <a:rPr lang="ru-RU" smtClean="0"/>
              <a:pPr/>
              <a:t>17.08.2021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10C84-21BF-45EB-93D2-B81AE586330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34EA4BC-FF46-456F-A031-3BEDB103DFB4}" type="datetime1">
              <a:rPr lang="ru-RU" smtClean="0"/>
              <a:pPr/>
              <a:t>17.08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10C84-21BF-45EB-93D2-B81AE586330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A678AB1-B98D-4E21-9700-EA22B4EFD8DA}" type="datetime1">
              <a:rPr lang="ru-RU" smtClean="0"/>
              <a:pPr/>
              <a:t>17.08.2021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A10C84-21BF-45EB-93D2-B81AE5863302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EBBF9C-2680-4582-85FA-7AC577CB5CDB}" type="datetime1">
              <a:rPr lang="ru-RU" smtClean="0"/>
              <a:pPr/>
              <a:t>17.08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FA10C84-21BF-45EB-93D2-B81AE5863302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diagramLayout" Target="../diagrams/layout5.xml"/><Relationship Id="rId7" Type="http://schemas.openxmlformats.org/officeDocument/2006/relationships/image" Target="../media/image12.png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diagramLayout" Target="../diagrams/layout6.xml"/><Relationship Id="rId7" Type="http://schemas.openxmlformats.org/officeDocument/2006/relationships/image" Target="../media/image12.png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diagramLayout" Target="../diagrams/layout7.xml"/><Relationship Id="rId7" Type="http://schemas.openxmlformats.org/officeDocument/2006/relationships/image" Target="../media/image13.png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7" Type="http://schemas.openxmlformats.org/officeDocument/2006/relationships/image" Target="../media/image8.png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9.xml"/><Relationship Id="rId7" Type="http://schemas.openxmlformats.org/officeDocument/2006/relationships/image" Target="../media/image8.png"/><Relationship Id="rId2" Type="http://schemas.openxmlformats.org/officeDocument/2006/relationships/diagramData" Target="../diagrams/data9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9.xml"/><Relationship Id="rId5" Type="http://schemas.openxmlformats.org/officeDocument/2006/relationships/diagramColors" Target="../diagrams/colors9.xml"/><Relationship Id="rId4" Type="http://schemas.openxmlformats.org/officeDocument/2006/relationships/diagramQuickStyle" Target="../diagrams/quickStyle9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1.xml"/><Relationship Id="rId3" Type="http://schemas.openxmlformats.org/officeDocument/2006/relationships/diagramLayout" Target="../diagrams/layout10.xml"/><Relationship Id="rId7" Type="http://schemas.openxmlformats.org/officeDocument/2006/relationships/diagramData" Target="../diagrams/data11.xml"/><Relationship Id="rId12" Type="http://schemas.openxmlformats.org/officeDocument/2006/relationships/image" Target="../media/image4.png"/><Relationship Id="rId2" Type="http://schemas.openxmlformats.org/officeDocument/2006/relationships/diagramData" Target="../diagrams/data10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0.xml"/><Relationship Id="rId11" Type="http://schemas.microsoft.com/office/2007/relationships/diagramDrawing" Target="../diagrams/drawing11.xml"/><Relationship Id="rId5" Type="http://schemas.openxmlformats.org/officeDocument/2006/relationships/diagramColors" Target="../diagrams/colors10.xml"/><Relationship Id="rId10" Type="http://schemas.openxmlformats.org/officeDocument/2006/relationships/diagramColors" Target="../diagrams/colors11.xml"/><Relationship Id="rId4" Type="http://schemas.openxmlformats.org/officeDocument/2006/relationships/diagramQuickStyle" Target="../diagrams/quickStyle10.xml"/><Relationship Id="rId9" Type="http://schemas.openxmlformats.org/officeDocument/2006/relationships/diagramQuickStyle" Target="../diagrams/quickStyle1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1.xml"/><Relationship Id="rId3" Type="http://schemas.openxmlformats.org/officeDocument/2006/relationships/diagramData" Target="../diagrams/data12.xml"/><Relationship Id="rId7" Type="http://schemas.microsoft.com/office/2007/relationships/diagramDrawing" Target="../diagrams/drawing12.xml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2.xml"/><Relationship Id="rId5" Type="http://schemas.openxmlformats.org/officeDocument/2006/relationships/diagramQuickStyle" Target="../diagrams/quickStyle12.xml"/><Relationship Id="rId4" Type="http://schemas.openxmlformats.org/officeDocument/2006/relationships/diagramLayout" Target="../diagrams/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svg"/><Relationship Id="rId3" Type="http://schemas.openxmlformats.org/officeDocument/2006/relationships/image" Target="../media/image5.png"/><Relationship Id="rId7" Type="http://schemas.microsoft.com/office/2007/relationships/hdphoto" Target="../media/hdphoto2.wdp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6.png"/><Relationship Id="rId11" Type="http://schemas.openxmlformats.org/officeDocument/2006/relationships/image" Target="../media/image10.svg"/><Relationship Id="rId5" Type="http://schemas.openxmlformats.org/officeDocument/2006/relationships/image" Target="../media/image6.svg"/><Relationship Id="rId10" Type="http://schemas.microsoft.com/office/2007/relationships/hdphoto" Target="../media/hdphoto3.wdp"/><Relationship Id="rId4" Type="http://schemas.microsoft.com/office/2007/relationships/hdphoto" Target="../media/hdphoto1.wdp"/><Relationship Id="rId9" Type="http://schemas.openxmlformats.org/officeDocument/2006/relationships/image" Target="../media/image7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image" Target="../media/image22.jp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8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7" Type="http://schemas.openxmlformats.org/officeDocument/2006/relationships/image" Target="../media/image8.png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diagramLayout" Target="../diagrams/layout4.xml"/><Relationship Id="rId7" Type="http://schemas.openxmlformats.org/officeDocument/2006/relationships/image" Target="../media/image12.png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78091" y="692696"/>
            <a:ext cx="5499186" cy="1936263"/>
          </a:xfrm>
          <a:prstGeom prst="rect">
            <a:avLst/>
          </a:prstGeom>
        </p:spPr>
      </p:pic>
      <p:sp>
        <p:nvSpPr>
          <p:cNvPr id="2051" name="Заголовок 1"/>
          <p:cNvSpPr>
            <a:spLocks noGrp="1"/>
          </p:cNvSpPr>
          <p:nvPr>
            <p:ph type="ctrTitle"/>
          </p:nvPr>
        </p:nvSpPr>
        <p:spPr>
          <a:xfrm>
            <a:off x="1555824" y="2132856"/>
            <a:ext cx="5043359" cy="3464337"/>
          </a:xfrm>
        </p:spPr>
        <p:txBody>
          <a:bodyPr>
            <a:normAutofit fontScale="90000"/>
          </a:bodyPr>
          <a:lstStyle/>
          <a:p>
            <a:pPr algn="l">
              <a:lnSpc>
                <a:spcPct val="80000"/>
              </a:lnSpc>
              <a:spcAft>
                <a:spcPts val="600"/>
              </a:spcAft>
            </a:pPr>
            <a:r>
              <a:rPr lang="ru-RU" sz="3200" b="1" dirty="0">
                <a:solidFill>
                  <a:srgbClr val="6D276A"/>
                </a:solidFill>
                <a:latin typeface="Times New Roman" pitchFamily="18" charset="0"/>
                <a:ea typeface="Yu Mincho Light" pitchFamily="18" charset="-128"/>
                <a:cs typeface="Times New Roman" pitchFamily="18" charset="0"/>
              </a:rPr>
              <a:t/>
            </a:r>
            <a:br>
              <a:rPr lang="ru-RU" sz="3200" b="1" dirty="0">
                <a:solidFill>
                  <a:srgbClr val="6D276A"/>
                </a:solidFill>
                <a:latin typeface="Times New Roman" pitchFamily="18" charset="0"/>
                <a:ea typeface="Yu Mincho Light" pitchFamily="18" charset="-128"/>
                <a:cs typeface="Times New Roman" pitchFamily="18" charset="0"/>
              </a:rPr>
            </a:br>
            <a:r>
              <a:rPr lang="ru-RU" sz="3600" dirty="0" smtClean="0">
                <a:solidFill>
                  <a:srgbClr val="2965A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НОВЛЕНИЕ СОДЕРЖАНИЯ </a:t>
            </a:r>
            <a:br>
              <a:rPr lang="ru-RU" sz="3600" dirty="0" smtClean="0">
                <a:solidFill>
                  <a:srgbClr val="2965A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3600" dirty="0" smtClean="0">
                <a:solidFill>
                  <a:srgbClr val="2965A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АК ИНСТРУМЕНТ ПОВЫШЕНИЯ КАЧЕСТВА ОБРАЗОВАНИЯ</a:t>
            </a:r>
            <a:r>
              <a:rPr lang="ru-RU" sz="3200" b="1" dirty="0" smtClean="0">
                <a:solidFill>
                  <a:srgbClr val="6D276A"/>
                </a:solidFill>
                <a:latin typeface="Times New Roman" pitchFamily="18" charset="0"/>
                <a:ea typeface="Yu Mincho Light" pitchFamily="18" charset="-128"/>
                <a:cs typeface="Times New Roman" pitchFamily="18" charset="0"/>
              </a:rPr>
              <a:t/>
            </a:r>
            <a:br>
              <a:rPr lang="ru-RU" sz="3200" b="1" dirty="0" smtClean="0">
                <a:solidFill>
                  <a:srgbClr val="6D276A"/>
                </a:solidFill>
                <a:latin typeface="Times New Roman" pitchFamily="18" charset="0"/>
                <a:ea typeface="Yu Mincho Light" pitchFamily="18" charset="-128"/>
                <a:cs typeface="Times New Roman" pitchFamily="18" charset="0"/>
              </a:rPr>
            </a:br>
            <a:endParaRPr lang="ru-RU" altLang="ru-RU" sz="3200" dirty="0">
              <a:solidFill>
                <a:srgbClr val="6D276A"/>
              </a:solidFill>
              <a:latin typeface="Times New Roman" pitchFamily="18" charset="0"/>
              <a:ea typeface="Yu Mincho Light" pitchFamily="18" charset="-128"/>
              <a:cs typeface="Times New Roman" pitchFamily="18" charset="0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1555824" y="4936798"/>
            <a:ext cx="5907162" cy="141799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>
              <a:lnSpc>
                <a:spcPct val="80000"/>
              </a:lnSpc>
              <a:spcAft>
                <a:spcPts val="1200"/>
              </a:spcAft>
            </a:pPr>
            <a:r>
              <a:rPr lang="ru-RU" sz="2000" b="1" dirty="0" smtClean="0">
                <a:solidFill>
                  <a:srgbClr val="2965A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митрий Александрович </a:t>
            </a:r>
            <a:r>
              <a:rPr lang="ru-RU" sz="2000" b="1" dirty="0" err="1" smtClean="0">
                <a:solidFill>
                  <a:srgbClr val="2965A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етелкин</a:t>
            </a:r>
            <a:r>
              <a:rPr lang="ru-RU" sz="2000" dirty="0" smtClean="0">
                <a:solidFill>
                  <a:srgbClr val="2965A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2000" dirty="0">
                <a:solidFill>
                  <a:srgbClr val="2965A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2000" dirty="0">
                <a:solidFill>
                  <a:srgbClr val="2965A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2000" dirty="0" smtClean="0">
                <a:solidFill>
                  <a:srgbClr val="2965A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меститель </a:t>
            </a:r>
            <a:r>
              <a:rPr lang="ru-RU" sz="2000" dirty="0">
                <a:solidFill>
                  <a:srgbClr val="2965A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иректора ФГБНУ «Институт стратегии развития образования РАО</a:t>
            </a:r>
            <a:r>
              <a:rPr lang="ru-RU" sz="2000" dirty="0" smtClean="0">
                <a:solidFill>
                  <a:srgbClr val="2965A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», </a:t>
            </a:r>
            <a:r>
              <a:rPr lang="ru-RU" sz="2000" dirty="0" err="1" smtClean="0">
                <a:solidFill>
                  <a:srgbClr val="2965A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.социол.наук</a:t>
            </a:r>
            <a:r>
              <a:rPr lang="ru-RU" sz="2000" dirty="0" smtClean="0">
                <a:solidFill>
                  <a:srgbClr val="2965A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доцент</a:t>
            </a:r>
            <a:endParaRPr lang="ru-RU" altLang="ru-RU" sz="2000" dirty="0">
              <a:solidFill>
                <a:srgbClr val="2965AF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="" xmlns:a16="http://schemas.microsoft.com/office/drawing/2014/main" id="{BB502D9F-D4DA-474E-A15C-49757F345848}"/>
              </a:ext>
            </a:extLst>
          </p:cNvPr>
          <p:cNvCxnSpPr/>
          <p:nvPr/>
        </p:nvCxnSpPr>
        <p:spPr>
          <a:xfrm>
            <a:off x="1555824" y="2626831"/>
            <a:ext cx="5303912" cy="0"/>
          </a:xfrm>
          <a:prstGeom prst="line">
            <a:avLst/>
          </a:prstGeom>
          <a:ln w="15875">
            <a:solidFill>
              <a:srgbClr val="3A6E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40340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333802150"/>
              </p:ext>
            </p:extLst>
          </p:nvPr>
        </p:nvGraphicFramePr>
        <p:xfrm>
          <a:off x="983432" y="1052736"/>
          <a:ext cx="10777196" cy="54006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55440" y="0"/>
            <a:ext cx="10998501" cy="9087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="" xmlns:a16="http://schemas.microsoft.com/office/drawing/2014/main" id="{E53F9E4F-6A61-7746-8056-12E8DC78D6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36" y="50303"/>
            <a:ext cx="744583" cy="99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88016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356995307"/>
              </p:ext>
            </p:extLst>
          </p:nvPr>
        </p:nvGraphicFramePr>
        <p:xfrm>
          <a:off x="1271463" y="1268760"/>
          <a:ext cx="10489165" cy="47525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3472" y="188641"/>
            <a:ext cx="10169079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="" xmlns:a16="http://schemas.microsoft.com/office/drawing/2014/main" id="{E53F9E4F-6A61-7746-8056-12E8DC78D6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36" y="50303"/>
            <a:ext cx="744583" cy="99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753203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165211334"/>
              </p:ext>
            </p:extLst>
          </p:nvPr>
        </p:nvGraphicFramePr>
        <p:xfrm>
          <a:off x="527381" y="1052736"/>
          <a:ext cx="11041227" cy="532859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8" name="Равно 7"/>
          <p:cNvSpPr/>
          <p:nvPr/>
        </p:nvSpPr>
        <p:spPr>
          <a:xfrm>
            <a:off x="5807968" y="2420888"/>
            <a:ext cx="480053" cy="288032"/>
          </a:xfrm>
          <a:prstGeom prst="mathEqual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46743" y="3645025"/>
            <a:ext cx="39793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57323" y="4717084"/>
            <a:ext cx="397933" cy="207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634082"/>
          </a:xfrm>
        </p:spPr>
        <p:txBody>
          <a:bodyPr>
            <a:noAutofit/>
          </a:bodyPr>
          <a:lstStyle/>
          <a:p>
            <a:r>
              <a:rPr lang="ru-RU" sz="2400" b="1" dirty="0" smtClean="0"/>
              <a:t>Механизмы обеспечения вариативности образовательных программ, предусмотренные ФГОС</a:t>
            </a:r>
            <a:endParaRPr lang="ru-RU" sz="2400" b="1" dirty="0"/>
          </a:p>
        </p:txBody>
      </p:sp>
      <p:pic>
        <p:nvPicPr>
          <p:cNvPr id="7" name="Picture 2">
            <a:extLst>
              <a:ext uri="{FF2B5EF4-FFF2-40B4-BE49-F238E27FC236}">
                <a16:creationId xmlns="" xmlns:a16="http://schemas.microsoft.com/office/drawing/2014/main" id="{E53F9E4F-6A61-7746-8056-12E8DC78D6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36" y="50303"/>
            <a:ext cx="744583" cy="99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09823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562074"/>
          </a:xfrm>
        </p:spPr>
        <p:txBody>
          <a:bodyPr>
            <a:normAutofit fontScale="90000"/>
          </a:bodyPr>
          <a:lstStyle/>
          <a:p>
            <a:r>
              <a:rPr lang="ru-RU" sz="3200" dirty="0" smtClean="0"/>
              <a:t>Проектная деятельность в проектах ФГОС</a:t>
            </a:r>
            <a:endParaRPr lang="ru-RU" sz="3200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81120802"/>
              </p:ext>
            </p:extLst>
          </p:nvPr>
        </p:nvGraphicFramePr>
        <p:xfrm>
          <a:off x="239350" y="836712"/>
          <a:ext cx="11713301" cy="58326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2">
            <a:extLst>
              <a:ext uri="{FF2B5EF4-FFF2-40B4-BE49-F238E27FC236}">
                <a16:creationId xmlns="" xmlns:a16="http://schemas.microsoft.com/office/drawing/2014/main" id="{E53F9E4F-6A61-7746-8056-12E8DC78D6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36" y="50303"/>
            <a:ext cx="744583" cy="99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628844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3339" y="116632"/>
            <a:ext cx="10657184" cy="792088"/>
          </a:xfrm>
        </p:spPr>
        <p:txBody>
          <a:bodyPr>
            <a:normAutofit/>
          </a:bodyPr>
          <a:lstStyle/>
          <a:p>
            <a:r>
              <a:rPr lang="ru-RU" sz="2800" b="1" dirty="0" smtClean="0"/>
              <a:t>Особенности требований к ИОС в проектах ФГОС</a:t>
            </a:r>
            <a:endParaRPr lang="ru-RU" sz="2800" b="1" dirty="0"/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23585308"/>
              </p:ext>
            </p:extLst>
          </p:nvPr>
        </p:nvGraphicFramePr>
        <p:xfrm>
          <a:off x="527381" y="908720"/>
          <a:ext cx="11233248" cy="56166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5" name="Picture 2">
            <a:extLst>
              <a:ext uri="{FF2B5EF4-FFF2-40B4-BE49-F238E27FC236}">
                <a16:creationId xmlns="" xmlns:a16="http://schemas.microsoft.com/office/drawing/2014/main" id="{E53F9E4F-6A61-7746-8056-12E8DC78D6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36" y="50303"/>
            <a:ext cx="744583" cy="99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36614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10085103" y="6492875"/>
            <a:ext cx="2057400" cy="365125"/>
          </a:xfrm>
        </p:spPr>
        <p:txBody>
          <a:bodyPr/>
          <a:lstStyle/>
          <a:p>
            <a:fld id="{A4193B10-D779-4ADC-9156-ADC21C4AA330}" type="slidenum">
              <a:rPr lang="ru-RU" smtClean="0"/>
              <a:pPr/>
              <a:t>15</a:t>
            </a:fld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2BB353ED-EE4C-4A1A-8BD2-41F9E6A2F709}"/>
              </a:ext>
            </a:extLst>
          </p:cNvPr>
          <p:cNvSpPr txBox="1"/>
          <p:nvPr/>
        </p:nvSpPr>
        <p:spPr>
          <a:xfrm>
            <a:off x="1271464" y="164202"/>
            <a:ext cx="696745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rgbClr val="6D276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ведение ФГОС</a:t>
            </a:r>
            <a:endParaRPr lang="ru-RU" sz="2400" b="1" dirty="0">
              <a:solidFill>
                <a:srgbClr val="6D276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6" name="Picture 2">
            <a:extLst>
              <a:ext uri="{FF2B5EF4-FFF2-40B4-BE49-F238E27FC236}">
                <a16:creationId xmlns="" xmlns:a16="http://schemas.microsoft.com/office/drawing/2014/main" id="{85C5FC0E-0080-E545-9214-F5C762F830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36" y="50303"/>
            <a:ext cx="744583" cy="99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7" name="Прямая соединительная линия 26">
            <a:extLst>
              <a:ext uri="{FF2B5EF4-FFF2-40B4-BE49-F238E27FC236}">
                <a16:creationId xmlns="" xmlns:a16="http://schemas.microsoft.com/office/drawing/2014/main" id="{6E227123-725E-A34D-A03A-D140A3D09C9E}"/>
              </a:ext>
            </a:extLst>
          </p:cNvPr>
          <p:cNvCxnSpPr/>
          <p:nvPr/>
        </p:nvCxnSpPr>
        <p:spPr>
          <a:xfrm>
            <a:off x="0" y="1196752"/>
            <a:ext cx="5303912" cy="0"/>
          </a:xfrm>
          <a:prstGeom prst="line">
            <a:avLst/>
          </a:prstGeom>
          <a:ln w="15875">
            <a:solidFill>
              <a:srgbClr val="3A6E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2" name="Группа 111"/>
          <p:cNvGrpSpPr/>
          <p:nvPr/>
        </p:nvGrpSpPr>
        <p:grpSpPr>
          <a:xfrm>
            <a:off x="623392" y="1268760"/>
            <a:ext cx="10801200" cy="2303278"/>
            <a:chOff x="2213297" y="975365"/>
            <a:chExt cx="6494697" cy="1807926"/>
          </a:xfrm>
        </p:grpSpPr>
        <p:sp>
          <p:nvSpPr>
            <p:cNvPr id="113" name="Прямоугольник 112"/>
            <p:cNvSpPr/>
            <p:nvPr/>
          </p:nvSpPr>
          <p:spPr>
            <a:xfrm>
              <a:off x="2854377" y="1036034"/>
              <a:ext cx="2616709" cy="4049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ru-RU" sz="1600" b="1" dirty="0"/>
                <a:t>Утверждение ФГОС НОО и ООО </a:t>
              </a:r>
            </a:p>
            <a:p>
              <a:pPr lvl="0"/>
              <a:r>
                <a:rPr lang="ru-RU" sz="1600" spc="300" dirty="0" smtClean="0"/>
                <a:t>май 2021г</a:t>
              </a:r>
              <a:r>
                <a:rPr lang="ru-RU" sz="1600" spc="300" dirty="0"/>
                <a:t>.</a:t>
              </a:r>
            </a:p>
          </p:txBody>
        </p:sp>
        <p:sp>
          <p:nvSpPr>
            <p:cNvPr id="114" name="Прямоугольник 113"/>
            <p:cNvSpPr/>
            <p:nvPr/>
          </p:nvSpPr>
          <p:spPr>
            <a:xfrm>
              <a:off x="6031443" y="1072566"/>
              <a:ext cx="2618413" cy="447530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lvl="0"/>
              <a:r>
                <a:rPr lang="ru-RU" b="1" dirty="0"/>
                <a:t>Разработка </a:t>
              </a:r>
              <a:r>
                <a:rPr lang="ru-RU" b="1" dirty="0" smtClean="0"/>
                <a:t>ПООП </a:t>
              </a:r>
              <a:br>
                <a:rPr lang="ru-RU" b="1" dirty="0" smtClean="0"/>
              </a:br>
              <a:r>
                <a:rPr lang="ru-RU" spc="300" dirty="0" smtClean="0"/>
                <a:t>июнь-декабрь 2021 г</a:t>
              </a:r>
              <a:r>
                <a:rPr lang="ru-RU" sz="700" spc="300" dirty="0" smtClean="0"/>
                <a:t>.</a:t>
              </a:r>
              <a:endParaRPr lang="ru-RU" sz="700" spc="300" dirty="0"/>
            </a:p>
          </p:txBody>
        </p:sp>
        <p:sp>
          <p:nvSpPr>
            <p:cNvPr id="115" name="Прямоугольник 114"/>
            <p:cNvSpPr/>
            <p:nvPr/>
          </p:nvSpPr>
          <p:spPr>
            <a:xfrm>
              <a:off x="2890689" y="1568567"/>
              <a:ext cx="2438401" cy="121472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ru-RU" b="1" dirty="0"/>
                <a:t>Комплексный анализ готовности введения ФГОС (региональный, муниципальный уровень + ОО</a:t>
              </a:r>
              <a:r>
                <a:rPr lang="ru-RU" dirty="0"/>
                <a:t>)</a:t>
              </a:r>
            </a:p>
            <a:p>
              <a:pPr lvl="0"/>
              <a:r>
                <a:rPr lang="ru-RU" dirty="0"/>
                <a:t> </a:t>
              </a:r>
              <a:r>
                <a:rPr lang="en-US" dirty="0" smtClean="0"/>
                <a:t>II</a:t>
              </a:r>
              <a:r>
                <a:rPr lang="ru-RU" spc="300" dirty="0" smtClean="0"/>
                <a:t> </a:t>
              </a:r>
              <a:r>
                <a:rPr lang="ru-RU" spc="300" dirty="0"/>
                <a:t>полугодие </a:t>
              </a:r>
              <a:r>
                <a:rPr lang="ru-RU" spc="300" dirty="0" smtClean="0"/>
                <a:t>202</a:t>
              </a:r>
              <a:r>
                <a:rPr lang="en-US" spc="300" dirty="0" smtClean="0"/>
                <a:t>1</a:t>
              </a:r>
              <a:r>
                <a:rPr lang="ru-RU" spc="300" dirty="0" smtClean="0"/>
                <a:t> </a:t>
              </a:r>
              <a:r>
                <a:rPr lang="ru-RU" spc="300" dirty="0"/>
                <a:t>г.</a:t>
              </a:r>
            </a:p>
          </p:txBody>
        </p:sp>
        <p:sp>
          <p:nvSpPr>
            <p:cNvPr id="116" name="Прямоугольник 115"/>
            <p:cNvSpPr/>
            <p:nvPr/>
          </p:nvSpPr>
          <p:spPr>
            <a:xfrm>
              <a:off x="5943600" y="1547102"/>
              <a:ext cx="2764394" cy="9421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ru-RU" b="1" dirty="0"/>
                <a:t>Поэтапное введение обновленных ФГОС НОО и </a:t>
              </a:r>
              <a:r>
                <a:rPr lang="ru-RU" b="1" dirty="0" smtClean="0"/>
                <a:t>ООО, </a:t>
              </a:r>
              <a:r>
                <a:rPr lang="ru-RU" spc="300" dirty="0" smtClean="0">
                  <a:solidFill>
                    <a:srgbClr val="FF0000"/>
                  </a:solidFill>
                </a:rPr>
                <a:t>начиная с</a:t>
              </a:r>
              <a:r>
                <a:rPr lang="en-US" spc="300" dirty="0" smtClean="0">
                  <a:solidFill>
                    <a:srgbClr val="FF0000"/>
                  </a:solidFill>
                </a:rPr>
                <a:t> </a:t>
              </a:r>
              <a:r>
                <a:rPr lang="ru-RU" spc="300" dirty="0" smtClean="0">
                  <a:solidFill>
                    <a:srgbClr val="FF0000"/>
                  </a:solidFill>
                </a:rPr>
                <a:t/>
              </a:r>
              <a:br>
                <a:rPr lang="ru-RU" spc="300" dirty="0" smtClean="0">
                  <a:solidFill>
                    <a:srgbClr val="FF0000"/>
                  </a:solidFill>
                </a:rPr>
              </a:br>
              <a:r>
                <a:rPr lang="en-US" spc="300" dirty="0" smtClean="0">
                  <a:solidFill>
                    <a:srgbClr val="FF0000"/>
                  </a:solidFill>
                </a:rPr>
                <a:t>1 </a:t>
              </a:r>
              <a:r>
                <a:rPr lang="ru-RU" spc="300" dirty="0" smtClean="0">
                  <a:solidFill>
                    <a:srgbClr val="FF0000"/>
                  </a:solidFill>
                </a:rPr>
                <a:t>сентября 2022 года </a:t>
              </a:r>
              <a:r>
                <a:rPr lang="ru-RU" spc="300" dirty="0" smtClean="0">
                  <a:solidFill>
                    <a:srgbClr val="292A2B"/>
                  </a:solidFill>
                </a:rPr>
                <a:t>переход </a:t>
              </a:r>
              <a:r>
                <a:rPr lang="ru-RU" spc="300" dirty="0">
                  <a:solidFill>
                    <a:srgbClr val="292A2B"/>
                  </a:solidFill>
                </a:rPr>
                <a:t>на ФГОС до </a:t>
              </a:r>
              <a:r>
                <a:rPr lang="ru-RU" spc="300" dirty="0" smtClean="0">
                  <a:solidFill>
                    <a:srgbClr val="292A2B"/>
                  </a:solidFill>
                </a:rPr>
                <a:t>2025-2026 </a:t>
              </a:r>
              <a:r>
                <a:rPr lang="ru-RU" spc="300" dirty="0">
                  <a:solidFill>
                    <a:srgbClr val="292A2B"/>
                  </a:solidFill>
                </a:rPr>
                <a:t>г</a:t>
              </a:r>
              <a:r>
                <a:rPr lang="ru-RU" spc="300" dirty="0">
                  <a:solidFill>
                    <a:srgbClr val="FF0000"/>
                  </a:solidFill>
                </a:rPr>
                <a:t>.</a:t>
              </a:r>
            </a:p>
          </p:txBody>
        </p:sp>
        <p:grpSp>
          <p:nvGrpSpPr>
            <p:cNvPr id="117" name="Группа 182"/>
            <p:cNvGrpSpPr/>
            <p:nvPr/>
          </p:nvGrpSpPr>
          <p:grpSpPr>
            <a:xfrm>
              <a:off x="2213297" y="1030343"/>
              <a:ext cx="561482" cy="469123"/>
              <a:chOff x="2145125" y="1770327"/>
              <a:chExt cx="687404" cy="574332"/>
            </a:xfrm>
          </p:grpSpPr>
          <p:grpSp>
            <p:nvGrpSpPr>
              <p:cNvPr id="150" name="Группа 163"/>
              <p:cNvGrpSpPr/>
              <p:nvPr/>
            </p:nvGrpSpPr>
            <p:grpSpPr>
              <a:xfrm>
                <a:off x="2145125" y="1770327"/>
                <a:ext cx="687404" cy="574332"/>
                <a:chOff x="1323442" y="3143899"/>
                <a:chExt cx="1227616" cy="1025683"/>
              </a:xfrm>
            </p:grpSpPr>
            <p:sp>
              <p:nvSpPr>
                <p:cNvPr id="160" name="TextBox 159"/>
                <p:cNvSpPr txBox="1"/>
                <p:nvPr/>
              </p:nvSpPr>
              <p:spPr>
                <a:xfrm>
                  <a:off x="1323442" y="3143899"/>
                  <a:ext cx="946857" cy="853297"/>
                </a:xfrm>
                <a:prstGeom prst="hexagon">
                  <a:avLst/>
                </a:prstGeom>
                <a:ln w="17999">
                  <a:solidFill>
                    <a:schemeClr val="accent1">
                      <a:lumMod val="60000"/>
                      <a:lumOff val="40000"/>
                    </a:schemeClr>
                  </a:solidFill>
                  <a:prstDash val="dash"/>
                </a:ln>
              </p:spPr>
              <p:txBody>
                <a:bodyPr wrap="square" lIns="0" tIns="0" rIns="0" bIns="0" rtlCol="0"/>
                <a:lstStyle>
                  <a:defPPr>
                    <a:defRPr lang="ru-RU"/>
                  </a:defPPr>
                </a:lstStyle>
                <a:p>
                  <a:endParaRPr lang="en-US" sz="1400" dirty="0"/>
                </a:p>
              </p:txBody>
            </p:sp>
            <p:sp>
              <p:nvSpPr>
                <p:cNvPr id="161" name="TextBox 160"/>
                <p:cNvSpPr txBox="1"/>
                <p:nvPr/>
              </p:nvSpPr>
              <p:spPr>
                <a:xfrm>
                  <a:off x="1519584" y="3240032"/>
                  <a:ext cx="1031474" cy="929550"/>
                </a:xfrm>
                <a:prstGeom prst="hexagon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</p:spPr>
              <p:txBody>
                <a:bodyPr wrap="square" lIns="0" tIns="0" rIns="0" bIns="0" rtlCol="0"/>
                <a:lstStyle>
                  <a:defPPr>
                    <a:defRPr lang="ru-RU"/>
                  </a:defPPr>
                </a:lstStyle>
                <a:p>
                  <a:endParaRPr lang="en-US" sz="1400" dirty="0"/>
                </a:p>
              </p:txBody>
            </p:sp>
          </p:grpSp>
          <p:grpSp>
            <p:nvGrpSpPr>
              <p:cNvPr id="151" name="Group 21"/>
              <p:cNvGrpSpPr>
                <a:grpSpLocks noChangeAspect="1"/>
              </p:cNvGrpSpPr>
              <p:nvPr/>
            </p:nvGrpSpPr>
            <p:grpSpPr bwMode="auto">
              <a:xfrm>
                <a:off x="2369873" y="1974585"/>
                <a:ext cx="385021" cy="245078"/>
                <a:chOff x="832" y="880"/>
                <a:chExt cx="4096" cy="2560"/>
              </a:xfrm>
              <a:solidFill>
                <a:schemeClr val="tx1"/>
              </a:solidFill>
            </p:grpSpPr>
            <p:sp>
              <p:nvSpPr>
                <p:cNvPr id="152" name="Freeform 23"/>
                <p:cNvSpPr>
                  <a:spLocks/>
                </p:cNvSpPr>
                <p:nvPr/>
              </p:nvSpPr>
              <p:spPr bwMode="auto">
                <a:xfrm>
                  <a:off x="1429" y="1061"/>
                  <a:ext cx="2666" cy="2379"/>
                </a:xfrm>
                <a:custGeom>
                  <a:avLst/>
                  <a:gdLst>
                    <a:gd name="T0" fmla="*/ 1887 w 2666"/>
                    <a:gd name="T1" fmla="*/ 108 h 2379"/>
                    <a:gd name="T2" fmla="*/ 2266 w 2666"/>
                    <a:gd name="T3" fmla="*/ 263 h 2379"/>
                    <a:gd name="T4" fmla="*/ 2489 w 2666"/>
                    <a:gd name="T5" fmla="*/ 347 h 2379"/>
                    <a:gd name="T6" fmla="*/ 2561 w 2666"/>
                    <a:gd name="T7" fmla="*/ 437 h 2379"/>
                    <a:gd name="T8" fmla="*/ 2446 w 2666"/>
                    <a:gd name="T9" fmla="*/ 513 h 2379"/>
                    <a:gd name="T10" fmla="*/ 2294 w 2666"/>
                    <a:gd name="T11" fmla="*/ 457 h 2379"/>
                    <a:gd name="T12" fmla="*/ 1938 w 2666"/>
                    <a:gd name="T13" fmla="*/ 316 h 2379"/>
                    <a:gd name="T14" fmla="*/ 1544 w 2666"/>
                    <a:gd name="T15" fmla="*/ 174 h 2379"/>
                    <a:gd name="T16" fmla="*/ 1234 w 2666"/>
                    <a:gd name="T17" fmla="*/ 272 h 2379"/>
                    <a:gd name="T18" fmla="*/ 953 w 2666"/>
                    <a:gd name="T19" fmla="*/ 547 h 2379"/>
                    <a:gd name="T20" fmla="*/ 847 w 2666"/>
                    <a:gd name="T21" fmla="*/ 771 h 2379"/>
                    <a:gd name="T22" fmla="*/ 904 w 2666"/>
                    <a:gd name="T23" fmla="*/ 854 h 2379"/>
                    <a:gd name="T24" fmla="*/ 1111 w 2666"/>
                    <a:gd name="T25" fmla="*/ 818 h 2379"/>
                    <a:gd name="T26" fmla="*/ 1272 w 2666"/>
                    <a:gd name="T27" fmla="*/ 673 h 2379"/>
                    <a:gd name="T28" fmla="*/ 1404 w 2666"/>
                    <a:gd name="T29" fmla="*/ 633 h 2379"/>
                    <a:gd name="T30" fmla="*/ 1564 w 2666"/>
                    <a:gd name="T31" fmla="*/ 591 h 2379"/>
                    <a:gd name="T32" fmla="*/ 1862 w 2666"/>
                    <a:gd name="T33" fmla="*/ 844 h 2379"/>
                    <a:gd name="T34" fmla="*/ 2304 w 2666"/>
                    <a:gd name="T35" fmla="*/ 1208 h 2379"/>
                    <a:gd name="T36" fmla="*/ 2615 w 2666"/>
                    <a:gd name="T37" fmla="*/ 1535 h 2379"/>
                    <a:gd name="T38" fmla="*/ 2643 w 2666"/>
                    <a:gd name="T39" fmla="*/ 1809 h 2379"/>
                    <a:gd name="T40" fmla="*/ 2414 w 2666"/>
                    <a:gd name="T41" fmla="*/ 1976 h 2379"/>
                    <a:gd name="T42" fmla="*/ 2188 w 2666"/>
                    <a:gd name="T43" fmla="*/ 2143 h 2379"/>
                    <a:gd name="T44" fmla="*/ 1943 w 2666"/>
                    <a:gd name="T45" fmla="*/ 2255 h 2379"/>
                    <a:gd name="T46" fmla="*/ 1682 w 2666"/>
                    <a:gd name="T47" fmla="*/ 2333 h 2379"/>
                    <a:gd name="T48" fmla="*/ 1410 w 2666"/>
                    <a:gd name="T49" fmla="*/ 2377 h 2379"/>
                    <a:gd name="T50" fmla="*/ 1148 w 2666"/>
                    <a:gd name="T51" fmla="*/ 2280 h 2379"/>
                    <a:gd name="T52" fmla="*/ 958 w 2666"/>
                    <a:gd name="T53" fmla="*/ 2141 h 2379"/>
                    <a:gd name="T54" fmla="*/ 629 w 2666"/>
                    <a:gd name="T55" fmla="*/ 1886 h 2379"/>
                    <a:gd name="T56" fmla="*/ 321 w 2666"/>
                    <a:gd name="T57" fmla="*/ 1630 h 2379"/>
                    <a:gd name="T58" fmla="*/ 110 w 2666"/>
                    <a:gd name="T59" fmla="*/ 1414 h 2379"/>
                    <a:gd name="T60" fmla="*/ 0 w 2666"/>
                    <a:gd name="T61" fmla="*/ 1277 h 2379"/>
                    <a:gd name="T62" fmla="*/ 101 w 2666"/>
                    <a:gd name="T63" fmla="*/ 1186 h 2379"/>
                    <a:gd name="T64" fmla="*/ 237 w 2666"/>
                    <a:gd name="T65" fmla="*/ 1299 h 2379"/>
                    <a:gd name="T66" fmla="*/ 436 w 2666"/>
                    <a:gd name="T67" fmla="*/ 1504 h 2379"/>
                    <a:gd name="T68" fmla="*/ 742 w 2666"/>
                    <a:gd name="T69" fmla="*/ 1757 h 2379"/>
                    <a:gd name="T70" fmla="*/ 1065 w 2666"/>
                    <a:gd name="T71" fmla="*/ 2008 h 2379"/>
                    <a:gd name="T72" fmla="*/ 1242 w 2666"/>
                    <a:gd name="T73" fmla="*/ 2137 h 2379"/>
                    <a:gd name="T74" fmla="*/ 1427 w 2666"/>
                    <a:gd name="T75" fmla="*/ 2206 h 2379"/>
                    <a:gd name="T76" fmla="*/ 1537 w 2666"/>
                    <a:gd name="T77" fmla="*/ 2188 h 2379"/>
                    <a:gd name="T78" fmla="*/ 1622 w 2666"/>
                    <a:gd name="T79" fmla="*/ 2123 h 2379"/>
                    <a:gd name="T80" fmla="*/ 1760 w 2666"/>
                    <a:gd name="T81" fmla="*/ 2165 h 2379"/>
                    <a:gd name="T82" fmla="*/ 1878 w 2666"/>
                    <a:gd name="T83" fmla="*/ 2030 h 2379"/>
                    <a:gd name="T84" fmla="*/ 2002 w 2666"/>
                    <a:gd name="T85" fmla="*/ 1962 h 2379"/>
                    <a:gd name="T86" fmla="*/ 2154 w 2666"/>
                    <a:gd name="T87" fmla="*/ 1973 h 2379"/>
                    <a:gd name="T88" fmla="*/ 2219 w 2666"/>
                    <a:gd name="T89" fmla="*/ 1876 h 2379"/>
                    <a:gd name="T90" fmla="*/ 2307 w 2666"/>
                    <a:gd name="T91" fmla="*/ 1782 h 2379"/>
                    <a:gd name="T92" fmla="*/ 2440 w 2666"/>
                    <a:gd name="T93" fmla="*/ 1789 h 2379"/>
                    <a:gd name="T94" fmla="*/ 2496 w 2666"/>
                    <a:gd name="T95" fmla="*/ 1694 h 2379"/>
                    <a:gd name="T96" fmla="*/ 2342 w 2666"/>
                    <a:gd name="T97" fmla="*/ 1474 h 2379"/>
                    <a:gd name="T98" fmla="*/ 1993 w 2666"/>
                    <a:gd name="T99" fmla="*/ 1170 h 2379"/>
                    <a:gd name="T100" fmla="*/ 1568 w 2666"/>
                    <a:gd name="T101" fmla="*/ 818 h 2379"/>
                    <a:gd name="T102" fmla="*/ 1384 w 2666"/>
                    <a:gd name="T103" fmla="*/ 826 h 2379"/>
                    <a:gd name="T104" fmla="*/ 1101 w 2666"/>
                    <a:gd name="T105" fmla="*/ 1013 h 2379"/>
                    <a:gd name="T106" fmla="*/ 758 w 2666"/>
                    <a:gd name="T107" fmla="*/ 975 h 2379"/>
                    <a:gd name="T108" fmla="*/ 680 w 2666"/>
                    <a:gd name="T109" fmla="*/ 728 h 2379"/>
                    <a:gd name="T110" fmla="*/ 830 w 2666"/>
                    <a:gd name="T111" fmla="*/ 427 h 2379"/>
                    <a:gd name="T112" fmla="*/ 1120 w 2666"/>
                    <a:gd name="T113" fmla="*/ 146 h 2379"/>
                    <a:gd name="T114" fmla="*/ 1467 w 2666"/>
                    <a:gd name="T115" fmla="*/ 2 h 23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666" h="2379">
                      <a:moveTo>
                        <a:pt x="1521" y="0"/>
                      </a:moveTo>
                      <a:lnTo>
                        <a:pt x="1576" y="5"/>
                      </a:lnTo>
                      <a:lnTo>
                        <a:pt x="1635" y="16"/>
                      </a:lnTo>
                      <a:lnTo>
                        <a:pt x="1696" y="33"/>
                      </a:lnTo>
                      <a:lnTo>
                        <a:pt x="1760" y="54"/>
                      </a:lnTo>
                      <a:lnTo>
                        <a:pt x="1827" y="82"/>
                      </a:lnTo>
                      <a:lnTo>
                        <a:pt x="1887" y="108"/>
                      </a:lnTo>
                      <a:lnTo>
                        <a:pt x="1945" y="133"/>
                      </a:lnTo>
                      <a:lnTo>
                        <a:pt x="2003" y="158"/>
                      </a:lnTo>
                      <a:lnTo>
                        <a:pt x="2060" y="182"/>
                      </a:lnTo>
                      <a:lnTo>
                        <a:pt x="2115" y="204"/>
                      </a:lnTo>
                      <a:lnTo>
                        <a:pt x="2168" y="225"/>
                      </a:lnTo>
                      <a:lnTo>
                        <a:pt x="2219" y="245"/>
                      </a:lnTo>
                      <a:lnTo>
                        <a:pt x="2266" y="263"/>
                      </a:lnTo>
                      <a:lnTo>
                        <a:pt x="2311" y="281"/>
                      </a:lnTo>
                      <a:lnTo>
                        <a:pt x="2352" y="297"/>
                      </a:lnTo>
                      <a:lnTo>
                        <a:pt x="2389" y="311"/>
                      </a:lnTo>
                      <a:lnTo>
                        <a:pt x="2422" y="322"/>
                      </a:lnTo>
                      <a:lnTo>
                        <a:pt x="2450" y="332"/>
                      </a:lnTo>
                      <a:lnTo>
                        <a:pt x="2471" y="340"/>
                      </a:lnTo>
                      <a:lnTo>
                        <a:pt x="2489" y="347"/>
                      </a:lnTo>
                      <a:lnTo>
                        <a:pt x="2499" y="350"/>
                      </a:lnTo>
                      <a:lnTo>
                        <a:pt x="2504" y="352"/>
                      </a:lnTo>
                      <a:lnTo>
                        <a:pt x="2523" y="362"/>
                      </a:lnTo>
                      <a:lnTo>
                        <a:pt x="2540" y="376"/>
                      </a:lnTo>
                      <a:lnTo>
                        <a:pt x="2552" y="395"/>
                      </a:lnTo>
                      <a:lnTo>
                        <a:pt x="2558" y="415"/>
                      </a:lnTo>
                      <a:lnTo>
                        <a:pt x="2561" y="437"/>
                      </a:lnTo>
                      <a:lnTo>
                        <a:pt x="2556" y="460"/>
                      </a:lnTo>
                      <a:lnTo>
                        <a:pt x="2546" y="481"/>
                      </a:lnTo>
                      <a:lnTo>
                        <a:pt x="2531" y="497"/>
                      </a:lnTo>
                      <a:lnTo>
                        <a:pt x="2512" y="509"/>
                      </a:lnTo>
                      <a:lnTo>
                        <a:pt x="2491" y="515"/>
                      </a:lnTo>
                      <a:lnTo>
                        <a:pt x="2469" y="517"/>
                      </a:lnTo>
                      <a:lnTo>
                        <a:pt x="2446" y="513"/>
                      </a:lnTo>
                      <a:lnTo>
                        <a:pt x="2443" y="512"/>
                      </a:lnTo>
                      <a:lnTo>
                        <a:pt x="2432" y="507"/>
                      </a:lnTo>
                      <a:lnTo>
                        <a:pt x="2415" y="502"/>
                      </a:lnTo>
                      <a:lnTo>
                        <a:pt x="2392" y="493"/>
                      </a:lnTo>
                      <a:lnTo>
                        <a:pt x="2365" y="483"/>
                      </a:lnTo>
                      <a:lnTo>
                        <a:pt x="2331" y="471"/>
                      </a:lnTo>
                      <a:lnTo>
                        <a:pt x="2294" y="457"/>
                      </a:lnTo>
                      <a:lnTo>
                        <a:pt x="2252" y="441"/>
                      </a:lnTo>
                      <a:lnTo>
                        <a:pt x="2206" y="424"/>
                      </a:lnTo>
                      <a:lnTo>
                        <a:pt x="2157" y="405"/>
                      </a:lnTo>
                      <a:lnTo>
                        <a:pt x="2105" y="384"/>
                      </a:lnTo>
                      <a:lnTo>
                        <a:pt x="2052" y="363"/>
                      </a:lnTo>
                      <a:lnTo>
                        <a:pt x="1995" y="339"/>
                      </a:lnTo>
                      <a:lnTo>
                        <a:pt x="1938" y="316"/>
                      </a:lnTo>
                      <a:lnTo>
                        <a:pt x="1878" y="291"/>
                      </a:lnTo>
                      <a:lnTo>
                        <a:pt x="1817" y="265"/>
                      </a:lnTo>
                      <a:lnTo>
                        <a:pt x="1758" y="239"/>
                      </a:lnTo>
                      <a:lnTo>
                        <a:pt x="1699" y="214"/>
                      </a:lnTo>
                      <a:lnTo>
                        <a:pt x="1645" y="195"/>
                      </a:lnTo>
                      <a:lnTo>
                        <a:pt x="1592" y="182"/>
                      </a:lnTo>
                      <a:lnTo>
                        <a:pt x="1544" y="174"/>
                      </a:lnTo>
                      <a:lnTo>
                        <a:pt x="1497" y="172"/>
                      </a:lnTo>
                      <a:lnTo>
                        <a:pt x="1452" y="174"/>
                      </a:lnTo>
                      <a:lnTo>
                        <a:pt x="1409" y="183"/>
                      </a:lnTo>
                      <a:lnTo>
                        <a:pt x="1365" y="198"/>
                      </a:lnTo>
                      <a:lnTo>
                        <a:pt x="1322" y="216"/>
                      </a:lnTo>
                      <a:lnTo>
                        <a:pt x="1278" y="242"/>
                      </a:lnTo>
                      <a:lnTo>
                        <a:pt x="1234" y="272"/>
                      </a:lnTo>
                      <a:lnTo>
                        <a:pt x="1188" y="308"/>
                      </a:lnTo>
                      <a:lnTo>
                        <a:pt x="1139" y="350"/>
                      </a:lnTo>
                      <a:lnTo>
                        <a:pt x="1089" y="398"/>
                      </a:lnTo>
                      <a:lnTo>
                        <a:pt x="1035" y="450"/>
                      </a:lnTo>
                      <a:lnTo>
                        <a:pt x="1007" y="481"/>
                      </a:lnTo>
                      <a:lnTo>
                        <a:pt x="979" y="513"/>
                      </a:lnTo>
                      <a:lnTo>
                        <a:pt x="953" y="547"/>
                      </a:lnTo>
                      <a:lnTo>
                        <a:pt x="930" y="580"/>
                      </a:lnTo>
                      <a:lnTo>
                        <a:pt x="909" y="615"/>
                      </a:lnTo>
                      <a:lnTo>
                        <a:pt x="890" y="648"/>
                      </a:lnTo>
                      <a:lnTo>
                        <a:pt x="874" y="682"/>
                      </a:lnTo>
                      <a:lnTo>
                        <a:pt x="861" y="714"/>
                      </a:lnTo>
                      <a:lnTo>
                        <a:pt x="851" y="744"/>
                      </a:lnTo>
                      <a:lnTo>
                        <a:pt x="847" y="771"/>
                      </a:lnTo>
                      <a:lnTo>
                        <a:pt x="844" y="795"/>
                      </a:lnTo>
                      <a:lnTo>
                        <a:pt x="847" y="816"/>
                      </a:lnTo>
                      <a:lnTo>
                        <a:pt x="849" y="825"/>
                      </a:lnTo>
                      <a:lnTo>
                        <a:pt x="854" y="832"/>
                      </a:lnTo>
                      <a:lnTo>
                        <a:pt x="864" y="841"/>
                      </a:lnTo>
                      <a:lnTo>
                        <a:pt x="880" y="847"/>
                      </a:lnTo>
                      <a:lnTo>
                        <a:pt x="904" y="854"/>
                      </a:lnTo>
                      <a:lnTo>
                        <a:pt x="930" y="861"/>
                      </a:lnTo>
                      <a:lnTo>
                        <a:pt x="957" y="864"/>
                      </a:lnTo>
                      <a:lnTo>
                        <a:pt x="986" y="864"/>
                      </a:lnTo>
                      <a:lnTo>
                        <a:pt x="1015" y="861"/>
                      </a:lnTo>
                      <a:lnTo>
                        <a:pt x="1046" y="852"/>
                      </a:lnTo>
                      <a:lnTo>
                        <a:pt x="1079" y="838"/>
                      </a:lnTo>
                      <a:lnTo>
                        <a:pt x="1111" y="818"/>
                      </a:lnTo>
                      <a:lnTo>
                        <a:pt x="1143" y="790"/>
                      </a:lnTo>
                      <a:lnTo>
                        <a:pt x="1177" y="755"/>
                      </a:lnTo>
                      <a:lnTo>
                        <a:pt x="1209" y="710"/>
                      </a:lnTo>
                      <a:lnTo>
                        <a:pt x="1221" y="696"/>
                      </a:lnTo>
                      <a:lnTo>
                        <a:pt x="1236" y="684"/>
                      </a:lnTo>
                      <a:lnTo>
                        <a:pt x="1254" y="677"/>
                      </a:lnTo>
                      <a:lnTo>
                        <a:pt x="1272" y="673"/>
                      </a:lnTo>
                      <a:lnTo>
                        <a:pt x="1297" y="669"/>
                      </a:lnTo>
                      <a:lnTo>
                        <a:pt x="1317" y="667"/>
                      </a:lnTo>
                      <a:lnTo>
                        <a:pt x="1334" y="662"/>
                      </a:lnTo>
                      <a:lnTo>
                        <a:pt x="1350" y="657"/>
                      </a:lnTo>
                      <a:lnTo>
                        <a:pt x="1367" y="650"/>
                      </a:lnTo>
                      <a:lnTo>
                        <a:pt x="1386" y="642"/>
                      </a:lnTo>
                      <a:lnTo>
                        <a:pt x="1404" y="633"/>
                      </a:lnTo>
                      <a:lnTo>
                        <a:pt x="1425" y="625"/>
                      </a:lnTo>
                      <a:lnTo>
                        <a:pt x="1449" y="615"/>
                      </a:lnTo>
                      <a:lnTo>
                        <a:pt x="1476" y="604"/>
                      </a:lnTo>
                      <a:lnTo>
                        <a:pt x="1507" y="592"/>
                      </a:lnTo>
                      <a:lnTo>
                        <a:pt x="1527" y="587"/>
                      </a:lnTo>
                      <a:lnTo>
                        <a:pt x="1545" y="587"/>
                      </a:lnTo>
                      <a:lnTo>
                        <a:pt x="1564" y="591"/>
                      </a:lnTo>
                      <a:lnTo>
                        <a:pt x="1581" y="600"/>
                      </a:lnTo>
                      <a:lnTo>
                        <a:pt x="1596" y="612"/>
                      </a:lnTo>
                      <a:lnTo>
                        <a:pt x="1640" y="653"/>
                      </a:lnTo>
                      <a:lnTo>
                        <a:pt x="1688" y="698"/>
                      </a:lnTo>
                      <a:lnTo>
                        <a:pt x="1743" y="745"/>
                      </a:lnTo>
                      <a:lnTo>
                        <a:pt x="1800" y="794"/>
                      </a:lnTo>
                      <a:lnTo>
                        <a:pt x="1862" y="844"/>
                      </a:lnTo>
                      <a:lnTo>
                        <a:pt x="1925" y="897"/>
                      </a:lnTo>
                      <a:lnTo>
                        <a:pt x="1991" y="949"/>
                      </a:lnTo>
                      <a:lnTo>
                        <a:pt x="2055" y="1001"/>
                      </a:lnTo>
                      <a:lnTo>
                        <a:pt x="2120" y="1053"/>
                      </a:lnTo>
                      <a:lnTo>
                        <a:pt x="2182" y="1105"/>
                      </a:lnTo>
                      <a:lnTo>
                        <a:pt x="2244" y="1157"/>
                      </a:lnTo>
                      <a:lnTo>
                        <a:pt x="2304" y="1208"/>
                      </a:lnTo>
                      <a:lnTo>
                        <a:pt x="2361" y="1258"/>
                      </a:lnTo>
                      <a:lnTo>
                        <a:pt x="2414" y="1308"/>
                      </a:lnTo>
                      <a:lnTo>
                        <a:pt x="2465" y="1356"/>
                      </a:lnTo>
                      <a:lnTo>
                        <a:pt x="2511" y="1403"/>
                      </a:lnTo>
                      <a:lnTo>
                        <a:pt x="2551" y="1449"/>
                      </a:lnTo>
                      <a:lnTo>
                        <a:pt x="2587" y="1493"/>
                      </a:lnTo>
                      <a:lnTo>
                        <a:pt x="2615" y="1535"/>
                      </a:lnTo>
                      <a:lnTo>
                        <a:pt x="2638" y="1574"/>
                      </a:lnTo>
                      <a:lnTo>
                        <a:pt x="2652" y="1614"/>
                      </a:lnTo>
                      <a:lnTo>
                        <a:pt x="2662" y="1654"/>
                      </a:lnTo>
                      <a:lnTo>
                        <a:pt x="2666" y="1694"/>
                      </a:lnTo>
                      <a:lnTo>
                        <a:pt x="2664" y="1733"/>
                      </a:lnTo>
                      <a:lnTo>
                        <a:pt x="2656" y="1772"/>
                      </a:lnTo>
                      <a:lnTo>
                        <a:pt x="2643" y="1809"/>
                      </a:lnTo>
                      <a:lnTo>
                        <a:pt x="2624" y="1844"/>
                      </a:lnTo>
                      <a:lnTo>
                        <a:pt x="2599" y="1876"/>
                      </a:lnTo>
                      <a:lnTo>
                        <a:pt x="2569" y="1906"/>
                      </a:lnTo>
                      <a:lnTo>
                        <a:pt x="2533" y="1933"/>
                      </a:lnTo>
                      <a:lnTo>
                        <a:pt x="2495" y="1953"/>
                      </a:lnTo>
                      <a:lnTo>
                        <a:pt x="2455" y="1968"/>
                      </a:lnTo>
                      <a:lnTo>
                        <a:pt x="2414" y="1976"/>
                      </a:lnTo>
                      <a:lnTo>
                        <a:pt x="2373" y="1977"/>
                      </a:lnTo>
                      <a:lnTo>
                        <a:pt x="2356" y="2013"/>
                      </a:lnTo>
                      <a:lnTo>
                        <a:pt x="2332" y="2045"/>
                      </a:lnTo>
                      <a:lnTo>
                        <a:pt x="2304" y="2076"/>
                      </a:lnTo>
                      <a:lnTo>
                        <a:pt x="2269" y="2102"/>
                      </a:lnTo>
                      <a:lnTo>
                        <a:pt x="2230" y="2126"/>
                      </a:lnTo>
                      <a:lnTo>
                        <a:pt x="2188" y="2143"/>
                      </a:lnTo>
                      <a:lnTo>
                        <a:pt x="2145" y="2156"/>
                      </a:lnTo>
                      <a:lnTo>
                        <a:pt x="2100" y="2162"/>
                      </a:lnTo>
                      <a:lnTo>
                        <a:pt x="2058" y="2162"/>
                      </a:lnTo>
                      <a:lnTo>
                        <a:pt x="2017" y="2157"/>
                      </a:lnTo>
                      <a:lnTo>
                        <a:pt x="1996" y="2192"/>
                      </a:lnTo>
                      <a:lnTo>
                        <a:pt x="1971" y="2225"/>
                      </a:lnTo>
                      <a:lnTo>
                        <a:pt x="1943" y="2255"/>
                      </a:lnTo>
                      <a:lnTo>
                        <a:pt x="1911" y="2281"/>
                      </a:lnTo>
                      <a:lnTo>
                        <a:pt x="1877" y="2303"/>
                      </a:lnTo>
                      <a:lnTo>
                        <a:pt x="1838" y="2321"/>
                      </a:lnTo>
                      <a:lnTo>
                        <a:pt x="1799" y="2333"/>
                      </a:lnTo>
                      <a:lnTo>
                        <a:pt x="1759" y="2339"/>
                      </a:lnTo>
                      <a:lnTo>
                        <a:pt x="1720" y="2339"/>
                      </a:lnTo>
                      <a:lnTo>
                        <a:pt x="1682" y="2333"/>
                      </a:lnTo>
                      <a:lnTo>
                        <a:pt x="1645" y="2322"/>
                      </a:lnTo>
                      <a:lnTo>
                        <a:pt x="1615" y="2343"/>
                      </a:lnTo>
                      <a:lnTo>
                        <a:pt x="1581" y="2359"/>
                      </a:lnTo>
                      <a:lnTo>
                        <a:pt x="1543" y="2370"/>
                      </a:lnTo>
                      <a:lnTo>
                        <a:pt x="1499" y="2377"/>
                      </a:lnTo>
                      <a:lnTo>
                        <a:pt x="1451" y="2379"/>
                      </a:lnTo>
                      <a:lnTo>
                        <a:pt x="1410" y="2377"/>
                      </a:lnTo>
                      <a:lnTo>
                        <a:pt x="1368" y="2369"/>
                      </a:lnTo>
                      <a:lnTo>
                        <a:pt x="1326" y="2359"/>
                      </a:lnTo>
                      <a:lnTo>
                        <a:pt x="1283" y="2345"/>
                      </a:lnTo>
                      <a:lnTo>
                        <a:pt x="1244" y="2329"/>
                      </a:lnTo>
                      <a:lnTo>
                        <a:pt x="1208" y="2313"/>
                      </a:lnTo>
                      <a:lnTo>
                        <a:pt x="1174" y="2296"/>
                      </a:lnTo>
                      <a:lnTo>
                        <a:pt x="1148" y="2280"/>
                      </a:lnTo>
                      <a:lnTo>
                        <a:pt x="1133" y="2270"/>
                      </a:lnTo>
                      <a:lnTo>
                        <a:pt x="1115" y="2256"/>
                      </a:lnTo>
                      <a:lnTo>
                        <a:pt x="1091" y="2240"/>
                      </a:lnTo>
                      <a:lnTo>
                        <a:pt x="1063" y="2219"/>
                      </a:lnTo>
                      <a:lnTo>
                        <a:pt x="1031" y="2196"/>
                      </a:lnTo>
                      <a:lnTo>
                        <a:pt x="997" y="2169"/>
                      </a:lnTo>
                      <a:lnTo>
                        <a:pt x="958" y="2141"/>
                      </a:lnTo>
                      <a:lnTo>
                        <a:pt x="917" y="2110"/>
                      </a:lnTo>
                      <a:lnTo>
                        <a:pt x="874" y="2076"/>
                      </a:lnTo>
                      <a:lnTo>
                        <a:pt x="828" y="2041"/>
                      </a:lnTo>
                      <a:lnTo>
                        <a:pt x="781" y="2004"/>
                      </a:lnTo>
                      <a:lnTo>
                        <a:pt x="731" y="1967"/>
                      </a:lnTo>
                      <a:lnTo>
                        <a:pt x="680" y="1927"/>
                      </a:lnTo>
                      <a:lnTo>
                        <a:pt x="629" y="1886"/>
                      </a:lnTo>
                      <a:lnTo>
                        <a:pt x="578" y="1845"/>
                      </a:lnTo>
                      <a:lnTo>
                        <a:pt x="526" y="1803"/>
                      </a:lnTo>
                      <a:lnTo>
                        <a:pt x="474" y="1761"/>
                      </a:lnTo>
                      <a:lnTo>
                        <a:pt x="423" y="1719"/>
                      </a:lnTo>
                      <a:lnTo>
                        <a:pt x="372" y="1676"/>
                      </a:lnTo>
                      <a:lnTo>
                        <a:pt x="348" y="1655"/>
                      </a:lnTo>
                      <a:lnTo>
                        <a:pt x="321" y="1630"/>
                      </a:lnTo>
                      <a:lnTo>
                        <a:pt x="292" y="1602"/>
                      </a:lnTo>
                      <a:lnTo>
                        <a:pt x="262" y="1571"/>
                      </a:lnTo>
                      <a:lnTo>
                        <a:pt x="230" y="1538"/>
                      </a:lnTo>
                      <a:lnTo>
                        <a:pt x="197" y="1505"/>
                      </a:lnTo>
                      <a:lnTo>
                        <a:pt x="165" y="1470"/>
                      </a:lnTo>
                      <a:lnTo>
                        <a:pt x="137" y="1442"/>
                      </a:lnTo>
                      <a:lnTo>
                        <a:pt x="110" y="1414"/>
                      </a:lnTo>
                      <a:lnTo>
                        <a:pt x="86" y="1390"/>
                      </a:lnTo>
                      <a:lnTo>
                        <a:pt x="65" y="1367"/>
                      </a:lnTo>
                      <a:lnTo>
                        <a:pt x="46" y="1349"/>
                      </a:lnTo>
                      <a:lnTo>
                        <a:pt x="30" y="1335"/>
                      </a:lnTo>
                      <a:lnTo>
                        <a:pt x="15" y="1318"/>
                      </a:lnTo>
                      <a:lnTo>
                        <a:pt x="5" y="1298"/>
                      </a:lnTo>
                      <a:lnTo>
                        <a:pt x="0" y="1277"/>
                      </a:lnTo>
                      <a:lnTo>
                        <a:pt x="1" y="1255"/>
                      </a:lnTo>
                      <a:lnTo>
                        <a:pt x="7" y="1234"/>
                      </a:lnTo>
                      <a:lnTo>
                        <a:pt x="20" y="1214"/>
                      </a:lnTo>
                      <a:lnTo>
                        <a:pt x="37" y="1200"/>
                      </a:lnTo>
                      <a:lnTo>
                        <a:pt x="57" y="1190"/>
                      </a:lnTo>
                      <a:lnTo>
                        <a:pt x="78" y="1185"/>
                      </a:lnTo>
                      <a:lnTo>
                        <a:pt x="101" y="1186"/>
                      </a:lnTo>
                      <a:lnTo>
                        <a:pt x="122" y="1192"/>
                      </a:lnTo>
                      <a:lnTo>
                        <a:pt x="140" y="1205"/>
                      </a:lnTo>
                      <a:lnTo>
                        <a:pt x="155" y="1217"/>
                      </a:lnTo>
                      <a:lnTo>
                        <a:pt x="171" y="1233"/>
                      </a:lnTo>
                      <a:lnTo>
                        <a:pt x="191" y="1253"/>
                      </a:lnTo>
                      <a:lnTo>
                        <a:pt x="214" y="1275"/>
                      </a:lnTo>
                      <a:lnTo>
                        <a:pt x="237" y="1299"/>
                      </a:lnTo>
                      <a:lnTo>
                        <a:pt x="262" y="1325"/>
                      </a:lnTo>
                      <a:lnTo>
                        <a:pt x="288" y="1352"/>
                      </a:lnTo>
                      <a:lnTo>
                        <a:pt x="318" y="1383"/>
                      </a:lnTo>
                      <a:lnTo>
                        <a:pt x="349" y="1416"/>
                      </a:lnTo>
                      <a:lnTo>
                        <a:pt x="379" y="1447"/>
                      </a:lnTo>
                      <a:lnTo>
                        <a:pt x="408" y="1476"/>
                      </a:lnTo>
                      <a:lnTo>
                        <a:pt x="436" y="1504"/>
                      </a:lnTo>
                      <a:lnTo>
                        <a:pt x="461" y="1526"/>
                      </a:lnTo>
                      <a:lnTo>
                        <a:pt x="482" y="1546"/>
                      </a:lnTo>
                      <a:lnTo>
                        <a:pt x="534" y="1588"/>
                      </a:lnTo>
                      <a:lnTo>
                        <a:pt x="586" y="1632"/>
                      </a:lnTo>
                      <a:lnTo>
                        <a:pt x="638" y="1674"/>
                      </a:lnTo>
                      <a:lnTo>
                        <a:pt x="690" y="1716"/>
                      </a:lnTo>
                      <a:lnTo>
                        <a:pt x="742" y="1757"/>
                      </a:lnTo>
                      <a:lnTo>
                        <a:pt x="793" y="1798"/>
                      </a:lnTo>
                      <a:lnTo>
                        <a:pt x="843" y="1836"/>
                      </a:lnTo>
                      <a:lnTo>
                        <a:pt x="891" y="1875"/>
                      </a:lnTo>
                      <a:lnTo>
                        <a:pt x="938" y="1911"/>
                      </a:lnTo>
                      <a:lnTo>
                        <a:pt x="983" y="1946"/>
                      </a:lnTo>
                      <a:lnTo>
                        <a:pt x="1025" y="1978"/>
                      </a:lnTo>
                      <a:lnTo>
                        <a:pt x="1065" y="2008"/>
                      </a:lnTo>
                      <a:lnTo>
                        <a:pt x="1102" y="2035"/>
                      </a:lnTo>
                      <a:lnTo>
                        <a:pt x="1136" y="2060"/>
                      </a:lnTo>
                      <a:lnTo>
                        <a:pt x="1166" y="2082"/>
                      </a:lnTo>
                      <a:lnTo>
                        <a:pt x="1192" y="2101"/>
                      </a:lnTo>
                      <a:lnTo>
                        <a:pt x="1213" y="2117"/>
                      </a:lnTo>
                      <a:lnTo>
                        <a:pt x="1230" y="2129"/>
                      </a:lnTo>
                      <a:lnTo>
                        <a:pt x="1242" y="2137"/>
                      </a:lnTo>
                      <a:lnTo>
                        <a:pt x="1262" y="2149"/>
                      </a:lnTo>
                      <a:lnTo>
                        <a:pt x="1287" y="2162"/>
                      </a:lnTo>
                      <a:lnTo>
                        <a:pt x="1314" y="2174"/>
                      </a:lnTo>
                      <a:lnTo>
                        <a:pt x="1344" y="2185"/>
                      </a:lnTo>
                      <a:lnTo>
                        <a:pt x="1373" y="2195"/>
                      </a:lnTo>
                      <a:lnTo>
                        <a:pt x="1401" y="2203"/>
                      </a:lnTo>
                      <a:lnTo>
                        <a:pt x="1427" y="2206"/>
                      </a:lnTo>
                      <a:lnTo>
                        <a:pt x="1451" y="2209"/>
                      </a:lnTo>
                      <a:lnTo>
                        <a:pt x="1477" y="2208"/>
                      </a:lnTo>
                      <a:lnTo>
                        <a:pt x="1498" y="2205"/>
                      </a:lnTo>
                      <a:lnTo>
                        <a:pt x="1514" y="2201"/>
                      </a:lnTo>
                      <a:lnTo>
                        <a:pt x="1525" y="2198"/>
                      </a:lnTo>
                      <a:lnTo>
                        <a:pt x="1533" y="2193"/>
                      </a:lnTo>
                      <a:lnTo>
                        <a:pt x="1537" y="2188"/>
                      </a:lnTo>
                      <a:lnTo>
                        <a:pt x="1540" y="2183"/>
                      </a:lnTo>
                      <a:lnTo>
                        <a:pt x="1542" y="2179"/>
                      </a:lnTo>
                      <a:lnTo>
                        <a:pt x="1552" y="2160"/>
                      </a:lnTo>
                      <a:lnTo>
                        <a:pt x="1565" y="2146"/>
                      </a:lnTo>
                      <a:lnTo>
                        <a:pt x="1581" y="2133"/>
                      </a:lnTo>
                      <a:lnTo>
                        <a:pt x="1601" y="2126"/>
                      </a:lnTo>
                      <a:lnTo>
                        <a:pt x="1622" y="2123"/>
                      </a:lnTo>
                      <a:lnTo>
                        <a:pt x="1642" y="2126"/>
                      </a:lnTo>
                      <a:lnTo>
                        <a:pt x="1662" y="2133"/>
                      </a:lnTo>
                      <a:lnTo>
                        <a:pt x="1679" y="2146"/>
                      </a:lnTo>
                      <a:lnTo>
                        <a:pt x="1700" y="2160"/>
                      </a:lnTo>
                      <a:lnTo>
                        <a:pt x="1722" y="2167"/>
                      </a:lnTo>
                      <a:lnTo>
                        <a:pt x="1741" y="2169"/>
                      </a:lnTo>
                      <a:lnTo>
                        <a:pt x="1760" y="2165"/>
                      </a:lnTo>
                      <a:lnTo>
                        <a:pt x="1777" y="2160"/>
                      </a:lnTo>
                      <a:lnTo>
                        <a:pt x="1804" y="2148"/>
                      </a:lnTo>
                      <a:lnTo>
                        <a:pt x="1826" y="2129"/>
                      </a:lnTo>
                      <a:lnTo>
                        <a:pt x="1846" y="2108"/>
                      </a:lnTo>
                      <a:lnTo>
                        <a:pt x="1862" y="2085"/>
                      </a:lnTo>
                      <a:lnTo>
                        <a:pt x="1873" y="2057"/>
                      </a:lnTo>
                      <a:lnTo>
                        <a:pt x="1878" y="2030"/>
                      </a:lnTo>
                      <a:lnTo>
                        <a:pt x="1884" y="2007"/>
                      </a:lnTo>
                      <a:lnTo>
                        <a:pt x="1895" y="1987"/>
                      </a:lnTo>
                      <a:lnTo>
                        <a:pt x="1911" y="1969"/>
                      </a:lnTo>
                      <a:lnTo>
                        <a:pt x="1933" y="1958"/>
                      </a:lnTo>
                      <a:lnTo>
                        <a:pt x="1956" y="1953"/>
                      </a:lnTo>
                      <a:lnTo>
                        <a:pt x="1980" y="1954"/>
                      </a:lnTo>
                      <a:lnTo>
                        <a:pt x="2002" y="1962"/>
                      </a:lnTo>
                      <a:lnTo>
                        <a:pt x="2021" y="1976"/>
                      </a:lnTo>
                      <a:lnTo>
                        <a:pt x="2034" y="1984"/>
                      </a:lnTo>
                      <a:lnTo>
                        <a:pt x="2053" y="1989"/>
                      </a:lnTo>
                      <a:lnTo>
                        <a:pt x="2075" y="1992"/>
                      </a:lnTo>
                      <a:lnTo>
                        <a:pt x="2100" y="1990"/>
                      </a:lnTo>
                      <a:lnTo>
                        <a:pt x="2126" y="1984"/>
                      </a:lnTo>
                      <a:lnTo>
                        <a:pt x="2154" y="1973"/>
                      </a:lnTo>
                      <a:lnTo>
                        <a:pt x="2165" y="1967"/>
                      </a:lnTo>
                      <a:lnTo>
                        <a:pt x="2177" y="1958"/>
                      </a:lnTo>
                      <a:lnTo>
                        <a:pt x="2191" y="1947"/>
                      </a:lnTo>
                      <a:lnTo>
                        <a:pt x="2203" y="1933"/>
                      </a:lnTo>
                      <a:lnTo>
                        <a:pt x="2213" y="1917"/>
                      </a:lnTo>
                      <a:lnTo>
                        <a:pt x="2219" y="1899"/>
                      </a:lnTo>
                      <a:lnTo>
                        <a:pt x="2219" y="1876"/>
                      </a:lnTo>
                      <a:lnTo>
                        <a:pt x="2219" y="1856"/>
                      </a:lnTo>
                      <a:lnTo>
                        <a:pt x="2224" y="1838"/>
                      </a:lnTo>
                      <a:lnTo>
                        <a:pt x="2233" y="1820"/>
                      </a:lnTo>
                      <a:lnTo>
                        <a:pt x="2245" y="1805"/>
                      </a:lnTo>
                      <a:lnTo>
                        <a:pt x="2260" y="1794"/>
                      </a:lnTo>
                      <a:lnTo>
                        <a:pt x="2283" y="1784"/>
                      </a:lnTo>
                      <a:lnTo>
                        <a:pt x="2307" y="1782"/>
                      </a:lnTo>
                      <a:lnTo>
                        <a:pt x="2331" y="1786"/>
                      </a:lnTo>
                      <a:lnTo>
                        <a:pt x="2353" y="1797"/>
                      </a:lnTo>
                      <a:lnTo>
                        <a:pt x="2367" y="1804"/>
                      </a:lnTo>
                      <a:lnTo>
                        <a:pt x="2383" y="1805"/>
                      </a:lnTo>
                      <a:lnTo>
                        <a:pt x="2402" y="1804"/>
                      </a:lnTo>
                      <a:lnTo>
                        <a:pt x="2422" y="1798"/>
                      </a:lnTo>
                      <a:lnTo>
                        <a:pt x="2440" y="1789"/>
                      </a:lnTo>
                      <a:lnTo>
                        <a:pt x="2458" y="1777"/>
                      </a:lnTo>
                      <a:lnTo>
                        <a:pt x="2468" y="1768"/>
                      </a:lnTo>
                      <a:lnTo>
                        <a:pt x="2476" y="1757"/>
                      </a:lnTo>
                      <a:lnTo>
                        <a:pt x="2485" y="1745"/>
                      </a:lnTo>
                      <a:lnTo>
                        <a:pt x="2491" y="1730"/>
                      </a:lnTo>
                      <a:lnTo>
                        <a:pt x="2495" y="1712"/>
                      </a:lnTo>
                      <a:lnTo>
                        <a:pt x="2496" y="1694"/>
                      </a:lnTo>
                      <a:lnTo>
                        <a:pt x="2492" y="1671"/>
                      </a:lnTo>
                      <a:lnTo>
                        <a:pt x="2484" y="1648"/>
                      </a:lnTo>
                      <a:lnTo>
                        <a:pt x="2466" y="1618"/>
                      </a:lnTo>
                      <a:lnTo>
                        <a:pt x="2443" y="1586"/>
                      </a:lnTo>
                      <a:lnTo>
                        <a:pt x="2414" y="1551"/>
                      </a:lnTo>
                      <a:lnTo>
                        <a:pt x="2381" y="1514"/>
                      </a:lnTo>
                      <a:lnTo>
                        <a:pt x="2342" y="1474"/>
                      </a:lnTo>
                      <a:lnTo>
                        <a:pt x="2300" y="1433"/>
                      </a:lnTo>
                      <a:lnTo>
                        <a:pt x="2254" y="1391"/>
                      </a:lnTo>
                      <a:lnTo>
                        <a:pt x="2206" y="1349"/>
                      </a:lnTo>
                      <a:lnTo>
                        <a:pt x="2154" y="1304"/>
                      </a:lnTo>
                      <a:lnTo>
                        <a:pt x="2101" y="1259"/>
                      </a:lnTo>
                      <a:lnTo>
                        <a:pt x="2047" y="1214"/>
                      </a:lnTo>
                      <a:lnTo>
                        <a:pt x="1993" y="1170"/>
                      </a:lnTo>
                      <a:lnTo>
                        <a:pt x="1938" y="1126"/>
                      </a:lnTo>
                      <a:lnTo>
                        <a:pt x="1884" y="1082"/>
                      </a:lnTo>
                      <a:lnTo>
                        <a:pt x="1816" y="1026"/>
                      </a:lnTo>
                      <a:lnTo>
                        <a:pt x="1749" y="972"/>
                      </a:lnTo>
                      <a:lnTo>
                        <a:pt x="1684" y="919"/>
                      </a:lnTo>
                      <a:lnTo>
                        <a:pt x="1624" y="868"/>
                      </a:lnTo>
                      <a:lnTo>
                        <a:pt x="1568" y="818"/>
                      </a:lnTo>
                      <a:lnTo>
                        <a:pt x="1516" y="771"/>
                      </a:lnTo>
                      <a:lnTo>
                        <a:pt x="1493" y="781"/>
                      </a:lnTo>
                      <a:lnTo>
                        <a:pt x="1473" y="790"/>
                      </a:lnTo>
                      <a:lnTo>
                        <a:pt x="1456" y="797"/>
                      </a:lnTo>
                      <a:lnTo>
                        <a:pt x="1431" y="808"/>
                      </a:lnTo>
                      <a:lnTo>
                        <a:pt x="1408" y="817"/>
                      </a:lnTo>
                      <a:lnTo>
                        <a:pt x="1384" y="826"/>
                      </a:lnTo>
                      <a:lnTo>
                        <a:pt x="1358" y="832"/>
                      </a:lnTo>
                      <a:lnTo>
                        <a:pt x="1328" y="837"/>
                      </a:lnTo>
                      <a:lnTo>
                        <a:pt x="1287" y="887"/>
                      </a:lnTo>
                      <a:lnTo>
                        <a:pt x="1244" y="929"/>
                      </a:lnTo>
                      <a:lnTo>
                        <a:pt x="1198" y="964"/>
                      </a:lnTo>
                      <a:lnTo>
                        <a:pt x="1151" y="992"/>
                      </a:lnTo>
                      <a:lnTo>
                        <a:pt x="1101" y="1013"/>
                      </a:lnTo>
                      <a:lnTo>
                        <a:pt x="1049" y="1027"/>
                      </a:lnTo>
                      <a:lnTo>
                        <a:pt x="995" y="1033"/>
                      </a:lnTo>
                      <a:lnTo>
                        <a:pt x="941" y="1033"/>
                      </a:lnTo>
                      <a:lnTo>
                        <a:pt x="884" y="1025"/>
                      </a:lnTo>
                      <a:lnTo>
                        <a:pt x="827" y="1010"/>
                      </a:lnTo>
                      <a:lnTo>
                        <a:pt x="791" y="995"/>
                      </a:lnTo>
                      <a:lnTo>
                        <a:pt x="758" y="975"/>
                      </a:lnTo>
                      <a:lnTo>
                        <a:pt x="731" y="950"/>
                      </a:lnTo>
                      <a:lnTo>
                        <a:pt x="709" y="923"/>
                      </a:lnTo>
                      <a:lnTo>
                        <a:pt x="691" y="890"/>
                      </a:lnTo>
                      <a:lnTo>
                        <a:pt x="680" y="856"/>
                      </a:lnTo>
                      <a:lnTo>
                        <a:pt x="674" y="815"/>
                      </a:lnTo>
                      <a:lnTo>
                        <a:pt x="674" y="771"/>
                      </a:lnTo>
                      <a:lnTo>
                        <a:pt x="680" y="728"/>
                      </a:lnTo>
                      <a:lnTo>
                        <a:pt x="691" y="683"/>
                      </a:lnTo>
                      <a:lnTo>
                        <a:pt x="708" y="638"/>
                      </a:lnTo>
                      <a:lnTo>
                        <a:pt x="727" y="594"/>
                      </a:lnTo>
                      <a:lnTo>
                        <a:pt x="750" y="549"/>
                      </a:lnTo>
                      <a:lnTo>
                        <a:pt x="775" y="507"/>
                      </a:lnTo>
                      <a:lnTo>
                        <a:pt x="802" y="466"/>
                      </a:lnTo>
                      <a:lnTo>
                        <a:pt x="830" y="427"/>
                      </a:lnTo>
                      <a:lnTo>
                        <a:pt x="859" y="391"/>
                      </a:lnTo>
                      <a:lnTo>
                        <a:pt x="886" y="358"/>
                      </a:lnTo>
                      <a:lnTo>
                        <a:pt x="915" y="329"/>
                      </a:lnTo>
                      <a:lnTo>
                        <a:pt x="968" y="277"/>
                      </a:lnTo>
                      <a:lnTo>
                        <a:pt x="1019" y="229"/>
                      </a:lnTo>
                      <a:lnTo>
                        <a:pt x="1070" y="185"/>
                      </a:lnTo>
                      <a:lnTo>
                        <a:pt x="1120" y="146"/>
                      </a:lnTo>
                      <a:lnTo>
                        <a:pt x="1168" y="111"/>
                      </a:lnTo>
                      <a:lnTo>
                        <a:pt x="1216" y="80"/>
                      </a:lnTo>
                      <a:lnTo>
                        <a:pt x="1265" y="55"/>
                      </a:lnTo>
                      <a:lnTo>
                        <a:pt x="1314" y="34"/>
                      </a:lnTo>
                      <a:lnTo>
                        <a:pt x="1364" y="18"/>
                      </a:lnTo>
                      <a:lnTo>
                        <a:pt x="1415" y="6"/>
                      </a:lnTo>
                      <a:lnTo>
                        <a:pt x="1467" y="2"/>
                      </a:lnTo>
                      <a:lnTo>
                        <a:pt x="152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53" name="Freeform 24"/>
                <p:cNvSpPr>
                  <a:spLocks/>
                </p:cNvSpPr>
                <p:nvPr/>
              </p:nvSpPr>
              <p:spPr bwMode="auto">
                <a:xfrm>
                  <a:off x="1686" y="1221"/>
                  <a:ext cx="938" cy="171"/>
                </a:xfrm>
                <a:custGeom>
                  <a:avLst/>
                  <a:gdLst>
                    <a:gd name="T0" fmla="*/ 84 w 938"/>
                    <a:gd name="T1" fmla="*/ 0 h 171"/>
                    <a:gd name="T2" fmla="*/ 853 w 938"/>
                    <a:gd name="T3" fmla="*/ 0 h 171"/>
                    <a:gd name="T4" fmla="*/ 875 w 938"/>
                    <a:gd name="T5" fmla="*/ 3 h 171"/>
                    <a:gd name="T6" fmla="*/ 896 w 938"/>
                    <a:gd name="T7" fmla="*/ 12 h 171"/>
                    <a:gd name="T8" fmla="*/ 913 w 938"/>
                    <a:gd name="T9" fmla="*/ 25 h 171"/>
                    <a:gd name="T10" fmla="*/ 926 w 938"/>
                    <a:gd name="T11" fmla="*/ 43 h 171"/>
                    <a:gd name="T12" fmla="*/ 935 w 938"/>
                    <a:gd name="T13" fmla="*/ 62 h 171"/>
                    <a:gd name="T14" fmla="*/ 938 w 938"/>
                    <a:gd name="T15" fmla="*/ 86 h 171"/>
                    <a:gd name="T16" fmla="*/ 935 w 938"/>
                    <a:gd name="T17" fmla="*/ 108 h 171"/>
                    <a:gd name="T18" fmla="*/ 926 w 938"/>
                    <a:gd name="T19" fmla="*/ 128 h 171"/>
                    <a:gd name="T20" fmla="*/ 913 w 938"/>
                    <a:gd name="T21" fmla="*/ 146 h 171"/>
                    <a:gd name="T22" fmla="*/ 896 w 938"/>
                    <a:gd name="T23" fmla="*/ 159 h 171"/>
                    <a:gd name="T24" fmla="*/ 875 w 938"/>
                    <a:gd name="T25" fmla="*/ 168 h 171"/>
                    <a:gd name="T26" fmla="*/ 853 w 938"/>
                    <a:gd name="T27" fmla="*/ 171 h 171"/>
                    <a:gd name="T28" fmla="*/ 84 w 938"/>
                    <a:gd name="T29" fmla="*/ 171 h 171"/>
                    <a:gd name="T30" fmla="*/ 62 w 938"/>
                    <a:gd name="T31" fmla="*/ 168 h 171"/>
                    <a:gd name="T32" fmla="*/ 42 w 938"/>
                    <a:gd name="T33" fmla="*/ 159 h 171"/>
                    <a:gd name="T34" fmla="*/ 25 w 938"/>
                    <a:gd name="T35" fmla="*/ 146 h 171"/>
                    <a:gd name="T36" fmla="*/ 11 w 938"/>
                    <a:gd name="T37" fmla="*/ 128 h 171"/>
                    <a:gd name="T38" fmla="*/ 2 w 938"/>
                    <a:gd name="T39" fmla="*/ 108 h 171"/>
                    <a:gd name="T40" fmla="*/ 0 w 938"/>
                    <a:gd name="T41" fmla="*/ 86 h 171"/>
                    <a:gd name="T42" fmla="*/ 2 w 938"/>
                    <a:gd name="T43" fmla="*/ 62 h 171"/>
                    <a:gd name="T44" fmla="*/ 11 w 938"/>
                    <a:gd name="T45" fmla="*/ 43 h 171"/>
                    <a:gd name="T46" fmla="*/ 25 w 938"/>
                    <a:gd name="T47" fmla="*/ 25 h 171"/>
                    <a:gd name="T48" fmla="*/ 42 w 938"/>
                    <a:gd name="T49" fmla="*/ 12 h 171"/>
                    <a:gd name="T50" fmla="*/ 62 w 938"/>
                    <a:gd name="T51" fmla="*/ 3 h 171"/>
                    <a:gd name="T52" fmla="*/ 84 w 938"/>
                    <a:gd name="T53" fmla="*/ 0 h 1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</a:cxnLst>
                  <a:rect l="0" t="0" r="r" b="b"/>
                  <a:pathLst>
                    <a:path w="938" h="171">
                      <a:moveTo>
                        <a:pt x="84" y="0"/>
                      </a:moveTo>
                      <a:lnTo>
                        <a:pt x="853" y="0"/>
                      </a:lnTo>
                      <a:lnTo>
                        <a:pt x="875" y="3"/>
                      </a:lnTo>
                      <a:lnTo>
                        <a:pt x="896" y="12"/>
                      </a:lnTo>
                      <a:lnTo>
                        <a:pt x="913" y="25"/>
                      </a:lnTo>
                      <a:lnTo>
                        <a:pt x="926" y="43"/>
                      </a:lnTo>
                      <a:lnTo>
                        <a:pt x="935" y="62"/>
                      </a:lnTo>
                      <a:lnTo>
                        <a:pt x="938" y="86"/>
                      </a:lnTo>
                      <a:lnTo>
                        <a:pt x="935" y="108"/>
                      </a:lnTo>
                      <a:lnTo>
                        <a:pt x="926" y="128"/>
                      </a:lnTo>
                      <a:lnTo>
                        <a:pt x="913" y="146"/>
                      </a:lnTo>
                      <a:lnTo>
                        <a:pt x="896" y="159"/>
                      </a:lnTo>
                      <a:lnTo>
                        <a:pt x="875" y="168"/>
                      </a:lnTo>
                      <a:lnTo>
                        <a:pt x="853" y="171"/>
                      </a:lnTo>
                      <a:lnTo>
                        <a:pt x="84" y="171"/>
                      </a:lnTo>
                      <a:lnTo>
                        <a:pt x="62" y="168"/>
                      </a:lnTo>
                      <a:lnTo>
                        <a:pt x="42" y="159"/>
                      </a:lnTo>
                      <a:lnTo>
                        <a:pt x="25" y="146"/>
                      </a:lnTo>
                      <a:lnTo>
                        <a:pt x="11" y="128"/>
                      </a:lnTo>
                      <a:lnTo>
                        <a:pt x="2" y="108"/>
                      </a:lnTo>
                      <a:lnTo>
                        <a:pt x="0" y="86"/>
                      </a:lnTo>
                      <a:lnTo>
                        <a:pt x="2" y="62"/>
                      </a:lnTo>
                      <a:lnTo>
                        <a:pt x="11" y="43"/>
                      </a:lnTo>
                      <a:lnTo>
                        <a:pt x="25" y="25"/>
                      </a:lnTo>
                      <a:lnTo>
                        <a:pt x="42" y="12"/>
                      </a:lnTo>
                      <a:lnTo>
                        <a:pt x="62" y="3"/>
                      </a:lnTo>
                      <a:lnTo>
                        <a:pt x="84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54" name="Freeform 25"/>
                <p:cNvSpPr>
                  <a:spLocks/>
                </p:cNvSpPr>
                <p:nvPr/>
              </p:nvSpPr>
              <p:spPr bwMode="auto">
                <a:xfrm>
                  <a:off x="3910" y="2416"/>
                  <a:ext cx="421" cy="339"/>
                </a:xfrm>
                <a:custGeom>
                  <a:avLst/>
                  <a:gdLst>
                    <a:gd name="T0" fmla="*/ 330 w 421"/>
                    <a:gd name="T1" fmla="*/ 0 h 339"/>
                    <a:gd name="T2" fmla="*/ 351 w 421"/>
                    <a:gd name="T3" fmla="*/ 1 h 339"/>
                    <a:gd name="T4" fmla="*/ 373 w 421"/>
                    <a:gd name="T5" fmla="*/ 8 h 339"/>
                    <a:gd name="T6" fmla="*/ 391 w 421"/>
                    <a:gd name="T7" fmla="*/ 21 h 339"/>
                    <a:gd name="T8" fmla="*/ 406 w 421"/>
                    <a:gd name="T9" fmla="*/ 38 h 339"/>
                    <a:gd name="T10" fmla="*/ 416 w 421"/>
                    <a:gd name="T11" fmla="*/ 58 h 339"/>
                    <a:gd name="T12" fmla="*/ 421 w 421"/>
                    <a:gd name="T13" fmla="*/ 80 h 339"/>
                    <a:gd name="T14" fmla="*/ 418 w 421"/>
                    <a:gd name="T15" fmla="*/ 102 h 339"/>
                    <a:gd name="T16" fmla="*/ 412 w 421"/>
                    <a:gd name="T17" fmla="*/ 123 h 339"/>
                    <a:gd name="T18" fmla="*/ 400 w 421"/>
                    <a:gd name="T19" fmla="*/ 141 h 339"/>
                    <a:gd name="T20" fmla="*/ 382 w 421"/>
                    <a:gd name="T21" fmla="*/ 156 h 339"/>
                    <a:gd name="T22" fmla="*/ 133 w 421"/>
                    <a:gd name="T23" fmla="*/ 324 h 339"/>
                    <a:gd name="T24" fmla="*/ 118 w 421"/>
                    <a:gd name="T25" fmla="*/ 332 h 339"/>
                    <a:gd name="T26" fmla="*/ 102 w 421"/>
                    <a:gd name="T27" fmla="*/ 337 h 339"/>
                    <a:gd name="T28" fmla="*/ 86 w 421"/>
                    <a:gd name="T29" fmla="*/ 339 h 339"/>
                    <a:gd name="T30" fmla="*/ 66 w 421"/>
                    <a:gd name="T31" fmla="*/ 336 h 339"/>
                    <a:gd name="T32" fmla="*/ 46 w 421"/>
                    <a:gd name="T33" fmla="*/ 329 h 339"/>
                    <a:gd name="T34" fmla="*/ 29 w 421"/>
                    <a:gd name="T35" fmla="*/ 316 h 339"/>
                    <a:gd name="T36" fmla="*/ 15 w 421"/>
                    <a:gd name="T37" fmla="*/ 300 h 339"/>
                    <a:gd name="T38" fmla="*/ 5 w 421"/>
                    <a:gd name="T39" fmla="*/ 280 h 339"/>
                    <a:gd name="T40" fmla="*/ 0 w 421"/>
                    <a:gd name="T41" fmla="*/ 258 h 339"/>
                    <a:gd name="T42" fmla="*/ 3 w 421"/>
                    <a:gd name="T43" fmla="*/ 237 h 339"/>
                    <a:gd name="T44" fmla="*/ 9 w 421"/>
                    <a:gd name="T45" fmla="*/ 216 h 339"/>
                    <a:gd name="T46" fmla="*/ 21 w 421"/>
                    <a:gd name="T47" fmla="*/ 197 h 339"/>
                    <a:gd name="T48" fmla="*/ 39 w 421"/>
                    <a:gd name="T49" fmla="*/ 182 h 339"/>
                    <a:gd name="T50" fmla="*/ 288 w 421"/>
                    <a:gd name="T51" fmla="*/ 15 h 339"/>
                    <a:gd name="T52" fmla="*/ 308 w 421"/>
                    <a:gd name="T53" fmla="*/ 5 h 339"/>
                    <a:gd name="T54" fmla="*/ 330 w 421"/>
                    <a:gd name="T55" fmla="*/ 0 h 33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421" h="339">
                      <a:moveTo>
                        <a:pt x="330" y="0"/>
                      </a:moveTo>
                      <a:lnTo>
                        <a:pt x="351" y="1"/>
                      </a:lnTo>
                      <a:lnTo>
                        <a:pt x="373" y="8"/>
                      </a:lnTo>
                      <a:lnTo>
                        <a:pt x="391" y="21"/>
                      </a:lnTo>
                      <a:lnTo>
                        <a:pt x="406" y="38"/>
                      </a:lnTo>
                      <a:lnTo>
                        <a:pt x="416" y="58"/>
                      </a:lnTo>
                      <a:lnTo>
                        <a:pt x="421" y="80"/>
                      </a:lnTo>
                      <a:lnTo>
                        <a:pt x="418" y="102"/>
                      </a:lnTo>
                      <a:lnTo>
                        <a:pt x="412" y="123"/>
                      </a:lnTo>
                      <a:lnTo>
                        <a:pt x="400" y="141"/>
                      </a:lnTo>
                      <a:lnTo>
                        <a:pt x="382" y="156"/>
                      </a:lnTo>
                      <a:lnTo>
                        <a:pt x="133" y="324"/>
                      </a:lnTo>
                      <a:lnTo>
                        <a:pt x="118" y="332"/>
                      </a:lnTo>
                      <a:lnTo>
                        <a:pt x="102" y="337"/>
                      </a:lnTo>
                      <a:lnTo>
                        <a:pt x="86" y="339"/>
                      </a:lnTo>
                      <a:lnTo>
                        <a:pt x="66" y="336"/>
                      </a:lnTo>
                      <a:lnTo>
                        <a:pt x="46" y="329"/>
                      </a:lnTo>
                      <a:lnTo>
                        <a:pt x="29" y="316"/>
                      </a:lnTo>
                      <a:lnTo>
                        <a:pt x="15" y="300"/>
                      </a:lnTo>
                      <a:lnTo>
                        <a:pt x="5" y="280"/>
                      </a:lnTo>
                      <a:lnTo>
                        <a:pt x="0" y="258"/>
                      </a:lnTo>
                      <a:lnTo>
                        <a:pt x="3" y="237"/>
                      </a:lnTo>
                      <a:lnTo>
                        <a:pt x="9" y="216"/>
                      </a:lnTo>
                      <a:lnTo>
                        <a:pt x="21" y="197"/>
                      </a:lnTo>
                      <a:lnTo>
                        <a:pt x="39" y="182"/>
                      </a:lnTo>
                      <a:lnTo>
                        <a:pt x="288" y="15"/>
                      </a:lnTo>
                      <a:lnTo>
                        <a:pt x="308" y="5"/>
                      </a:lnTo>
                      <a:lnTo>
                        <a:pt x="330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55" name="Freeform 26"/>
                <p:cNvSpPr>
                  <a:spLocks/>
                </p:cNvSpPr>
                <p:nvPr/>
              </p:nvSpPr>
              <p:spPr bwMode="auto">
                <a:xfrm>
                  <a:off x="3136" y="2330"/>
                  <a:ext cx="682" cy="684"/>
                </a:xfrm>
                <a:custGeom>
                  <a:avLst/>
                  <a:gdLst>
                    <a:gd name="T0" fmla="*/ 109 w 682"/>
                    <a:gd name="T1" fmla="*/ 4 h 684"/>
                    <a:gd name="T2" fmla="*/ 147 w 682"/>
                    <a:gd name="T3" fmla="*/ 27 h 684"/>
                    <a:gd name="T4" fmla="*/ 211 w 682"/>
                    <a:gd name="T5" fmla="*/ 93 h 684"/>
                    <a:gd name="T6" fmla="*/ 279 w 682"/>
                    <a:gd name="T7" fmla="*/ 164 h 684"/>
                    <a:gd name="T8" fmla="*/ 351 w 682"/>
                    <a:gd name="T9" fmla="*/ 237 h 684"/>
                    <a:gd name="T10" fmla="*/ 422 w 682"/>
                    <a:gd name="T11" fmla="*/ 309 h 684"/>
                    <a:gd name="T12" fmla="*/ 489 w 682"/>
                    <a:gd name="T13" fmla="*/ 378 h 684"/>
                    <a:gd name="T14" fmla="*/ 550 w 682"/>
                    <a:gd name="T15" fmla="*/ 437 h 684"/>
                    <a:gd name="T16" fmla="*/ 600 w 682"/>
                    <a:gd name="T17" fmla="*/ 486 h 684"/>
                    <a:gd name="T18" fmla="*/ 638 w 682"/>
                    <a:gd name="T19" fmla="*/ 520 h 684"/>
                    <a:gd name="T20" fmla="*/ 666 w 682"/>
                    <a:gd name="T21" fmla="*/ 548 h 684"/>
                    <a:gd name="T22" fmla="*/ 682 w 682"/>
                    <a:gd name="T23" fmla="*/ 589 h 684"/>
                    <a:gd name="T24" fmla="*/ 676 w 682"/>
                    <a:gd name="T25" fmla="*/ 631 h 684"/>
                    <a:gd name="T26" fmla="*/ 650 w 682"/>
                    <a:gd name="T27" fmla="*/ 666 h 684"/>
                    <a:gd name="T28" fmla="*/ 617 w 682"/>
                    <a:gd name="T29" fmla="*/ 682 h 684"/>
                    <a:gd name="T30" fmla="*/ 579 w 682"/>
                    <a:gd name="T31" fmla="*/ 682 h 684"/>
                    <a:gd name="T32" fmla="*/ 545 w 682"/>
                    <a:gd name="T33" fmla="*/ 666 h 684"/>
                    <a:gd name="T34" fmla="*/ 511 w 682"/>
                    <a:gd name="T35" fmla="*/ 637 h 684"/>
                    <a:gd name="T36" fmla="*/ 465 w 682"/>
                    <a:gd name="T37" fmla="*/ 594 h 684"/>
                    <a:gd name="T38" fmla="*/ 409 w 682"/>
                    <a:gd name="T39" fmla="*/ 539 h 684"/>
                    <a:gd name="T40" fmla="*/ 348 w 682"/>
                    <a:gd name="T41" fmla="*/ 478 h 684"/>
                    <a:gd name="T42" fmla="*/ 283 w 682"/>
                    <a:gd name="T43" fmla="*/ 412 h 684"/>
                    <a:gd name="T44" fmla="*/ 219 w 682"/>
                    <a:gd name="T45" fmla="*/ 346 h 684"/>
                    <a:gd name="T46" fmla="*/ 159 w 682"/>
                    <a:gd name="T47" fmla="*/ 284 h 684"/>
                    <a:gd name="T48" fmla="*/ 105 w 682"/>
                    <a:gd name="T49" fmla="*/ 230 h 684"/>
                    <a:gd name="T50" fmla="*/ 62 w 682"/>
                    <a:gd name="T51" fmla="*/ 185 h 684"/>
                    <a:gd name="T52" fmla="*/ 32 w 682"/>
                    <a:gd name="T53" fmla="*/ 154 h 684"/>
                    <a:gd name="T54" fmla="*/ 11 w 682"/>
                    <a:gd name="T55" fmla="*/ 127 h 684"/>
                    <a:gd name="T56" fmla="*/ 0 w 682"/>
                    <a:gd name="T57" fmla="*/ 85 h 684"/>
                    <a:gd name="T58" fmla="*/ 12 w 682"/>
                    <a:gd name="T59" fmla="*/ 42 h 684"/>
                    <a:gd name="T60" fmla="*/ 44 w 682"/>
                    <a:gd name="T61" fmla="*/ 11 h 684"/>
                    <a:gd name="T62" fmla="*/ 88 w 682"/>
                    <a:gd name="T63" fmla="*/ 0 h 68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82" h="684">
                      <a:moveTo>
                        <a:pt x="88" y="0"/>
                      </a:moveTo>
                      <a:lnTo>
                        <a:pt x="109" y="4"/>
                      </a:lnTo>
                      <a:lnTo>
                        <a:pt x="129" y="13"/>
                      </a:lnTo>
                      <a:lnTo>
                        <a:pt x="147" y="27"/>
                      </a:lnTo>
                      <a:lnTo>
                        <a:pt x="178" y="60"/>
                      </a:lnTo>
                      <a:lnTo>
                        <a:pt x="211" y="93"/>
                      </a:lnTo>
                      <a:lnTo>
                        <a:pt x="244" y="128"/>
                      </a:lnTo>
                      <a:lnTo>
                        <a:pt x="279" y="164"/>
                      </a:lnTo>
                      <a:lnTo>
                        <a:pt x="315" y="201"/>
                      </a:lnTo>
                      <a:lnTo>
                        <a:pt x="351" y="237"/>
                      </a:lnTo>
                      <a:lnTo>
                        <a:pt x="387" y="274"/>
                      </a:lnTo>
                      <a:lnTo>
                        <a:pt x="422" y="309"/>
                      </a:lnTo>
                      <a:lnTo>
                        <a:pt x="456" y="344"/>
                      </a:lnTo>
                      <a:lnTo>
                        <a:pt x="489" y="378"/>
                      </a:lnTo>
                      <a:lnTo>
                        <a:pt x="520" y="409"/>
                      </a:lnTo>
                      <a:lnTo>
                        <a:pt x="550" y="437"/>
                      </a:lnTo>
                      <a:lnTo>
                        <a:pt x="576" y="463"/>
                      </a:lnTo>
                      <a:lnTo>
                        <a:pt x="600" y="486"/>
                      </a:lnTo>
                      <a:lnTo>
                        <a:pt x="620" y="505"/>
                      </a:lnTo>
                      <a:lnTo>
                        <a:pt x="638" y="520"/>
                      </a:lnTo>
                      <a:lnTo>
                        <a:pt x="650" y="531"/>
                      </a:lnTo>
                      <a:lnTo>
                        <a:pt x="666" y="548"/>
                      </a:lnTo>
                      <a:lnTo>
                        <a:pt x="677" y="567"/>
                      </a:lnTo>
                      <a:lnTo>
                        <a:pt x="682" y="589"/>
                      </a:lnTo>
                      <a:lnTo>
                        <a:pt x="682" y="610"/>
                      </a:lnTo>
                      <a:lnTo>
                        <a:pt x="676" y="631"/>
                      </a:lnTo>
                      <a:lnTo>
                        <a:pt x="665" y="651"/>
                      </a:lnTo>
                      <a:lnTo>
                        <a:pt x="650" y="666"/>
                      </a:lnTo>
                      <a:lnTo>
                        <a:pt x="634" y="675"/>
                      </a:lnTo>
                      <a:lnTo>
                        <a:pt x="617" y="682"/>
                      </a:lnTo>
                      <a:lnTo>
                        <a:pt x="598" y="684"/>
                      </a:lnTo>
                      <a:lnTo>
                        <a:pt x="579" y="682"/>
                      </a:lnTo>
                      <a:lnTo>
                        <a:pt x="561" y="675"/>
                      </a:lnTo>
                      <a:lnTo>
                        <a:pt x="545" y="666"/>
                      </a:lnTo>
                      <a:lnTo>
                        <a:pt x="530" y="653"/>
                      </a:lnTo>
                      <a:lnTo>
                        <a:pt x="511" y="637"/>
                      </a:lnTo>
                      <a:lnTo>
                        <a:pt x="490" y="617"/>
                      </a:lnTo>
                      <a:lnTo>
                        <a:pt x="465" y="594"/>
                      </a:lnTo>
                      <a:lnTo>
                        <a:pt x="439" y="567"/>
                      </a:lnTo>
                      <a:lnTo>
                        <a:pt x="409" y="539"/>
                      </a:lnTo>
                      <a:lnTo>
                        <a:pt x="380" y="509"/>
                      </a:lnTo>
                      <a:lnTo>
                        <a:pt x="348" y="478"/>
                      </a:lnTo>
                      <a:lnTo>
                        <a:pt x="316" y="445"/>
                      </a:lnTo>
                      <a:lnTo>
                        <a:pt x="283" y="412"/>
                      </a:lnTo>
                      <a:lnTo>
                        <a:pt x="250" y="379"/>
                      </a:lnTo>
                      <a:lnTo>
                        <a:pt x="219" y="346"/>
                      </a:lnTo>
                      <a:lnTo>
                        <a:pt x="188" y="315"/>
                      </a:lnTo>
                      <a:lnTo>
                        <a:pt x="159" y="284"/>
                      </a:lnTo>
                      <a:lnTo>
                        <a:pt x="130" y="256"/>
                      </a:lnTo>
                      <a:lnTo>
                        <a:pt x="105" y="230"/>
                      </a:lnTo>
                      <a:lnTo>
                        <a:pt x="82" y="205"/>
                      </a:lnTo>
                      <a:lnTo>
                        <a:pt x="62" y="185"/>
                      </a:lnTo>
                      <a:lnTo>
                        <a:pt x="46" y="168"/>
                      </a:lnTo>
                      <a:lnTo>
                        <a:pt x="32" y="154"/>
                      </a:lnTo>
                      <a:lnTo>
                        <a:pt x="25" y="145"/>
                      </a:lnTo>
                      <a:lnTo>
                        <a:pt x="11" y="127"/>
                      </a:lnTo>
                      <a:lnTo>
                        <a:pt x="2" y="106"/>
                      </a:lnTo>
                      <a:lnTo>
                        <a:pt x="0" y="85"/>
                      </a:lnTo>
                      <a:lnTo>
                        <a:pt x="3" y="62"/>
                      </a:lnTo>
                      <a:lnTo>
                        <a:pt x="12" y="42"/>
                      </a:lnTo>
                      <a:lnTo>
                        <a:pt x="27" y="25"/>
                      </a:lnTo>
                      <a:lnTo>
                        <a:pt x="44" y="11"/>
                      </a:lnTo>
                      <a:lnTo>
                        <a:pt x="65" y="3"/>
                      </a:lnTo>
                      <a:lnTo>
                        <a:pt x="8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56" name="Freeform 27"/>
                <p:cNvSpPr>
                  <a:spLocks/>
                </p:cNvSpPr>
                <p:nvPr/>
              </p:nvSpPr>
              <p:spPr bwMode="auto">
                <a:xfrm>
                  <a:off x="2880" y="2587"/>
                  <a:ext cx="597" cy="597"/>
                </a:xfrm>
                <a:custGeom>
                  <a:avLst/>
                  <a:gdLst>
                    <a:gd name="T0" fmla="*/ 89 w 597"/>
                    <a:gd name="T1" fmla="*/ 0 h 597"/>
                    <a:gd name="T2" fmla="*/ 110 w 597"/>
                    <a:gd name="T3" fmla="*/ 4 h 597"/>
                    <a:gd name="T4" fmla="*/ 130 w 597"/>
                    <a:gd name="T5" fmla="*/ 12 h 597"/>
                    <a:gd name="T6" fmla="*/ 148 w 597"/>
                    <a:gd name="T7" fmla="*/ 27 h 597"/>
                    <a:gd name="T8" fmla="*/ 161 w 597"/>
                    <a:gd name="T9" fmla="*/ 41 h 597"/>
                    <a:gd name="T10" fmla="*/ 179 w 597"/>
                    <a:gd name="T11" fmla="*/ 60 h 597"/>
                    <a:gd name="T12" fmla="*/ 200 w 597"/>
                    <a:gd name="T13" fmla="*/ 82 h 597"/>
                    <a:gd name="T14" fmla="*/ 223 w 597"/>
                    <a:gd name="T15" fmla="*/ 108 h 597"/>
                    <a:gd name="T16" fmla="*/ 251 w 597"/>
                    <a:gd name="T17" fmla="*/ 135 h 597"/>
                    <a:gd name="T18" fmla="*/ 279 w 597"/>
                    <a:gd name="T19" fmla="*/ 166 h 597"/>
                    <a:gd name="T20" fmla="*/ 309 w 597"/>
                    <a:gd name="T21" fmla="*/ 197 h 597"/>
                    <a:gd name="T22" fmla="*/ 340 w 597"/>
                    <a:gd name="T23" fmla="*/ 230 h 597"/>
                    <a:gd name="T24" fmla="*/ 372 w 597"/>
                    <a:gd name="T25" fmla="*/ 262 h 597"/>
                    <a:gd name="T26" fmla="*/ 403 w 597"/>
                    <a:gd name="T27" fmla="*/ 294 h 597"/>
                    <a:gd name="T28" fmla="*/ 436 w 597"/>
                    <a:gd name="T29" fmla="*/ 325 h 597"/>
                    <a:gd name="T30" fmla="*/ 465 w 597"/>
                    <a:gd name="T31" fmla="*/ 354 h 597"/>
                    <a:gd name="T32" fmla="*/ 494 w 597"/>
                    <a:gd name="T33" fmla="*/ 381 h 597"/>
                    <a:gd name="T34" fmla="*/ 520 w 597"/>
                    <a:gd name="T35" fmla="*/ 406 h 597"/>
                    <a:gd name="T36" fmla="*/ 545 w 597"/>
                    <a:gd name="T37" fmla="*/ 428 h 597"/>
                    <a:gd name="T38" fmla="*/ 566 w 597"/>
                    <a:gd name="T39" fmla="*/ 446 h 597"/>
                    <a:gd name="T40" fmla="*/ 581 w 597"/>
                    <a:gd name="T41" fmla="*/ 462 h 597"/>
                    <a:gd name="T42" fmla="*/ 592 w 597"/>
                    <a:gd name="T43" fmla="*/ 482 h 597"/>
                    <a:gd name="T44" fmla="*/ 597 w 597"/>
                    <a:gd name="T45" fmla="*/ 503 h 597"/>
                    <a:gd name="T46" fmla="*/ 597 w 597"/>
                    <a:gd name="T47" fmla="*/ 524 h 597"/>
                    <a:gd name="T48" fmla="*/ 591 w 597"/>
                    <a:gd name="T49" fmla="*/ 545 h 597"/>
                    <a:gd name="T50" fmla="*/ 578 w 597"/>
                    <a:gd name="T51" fmla="*/ 565 h 597"/>
                    <a:gd name="T52" fmla="*/ 565 w 597"/>
                    <a:gd name="T53" fmla="*/ 579 h 597"/>
                    <a:gd name="T54" fmla="*/ 549 w 597"/>
                    <a:gd name="T55" fmla="*/ 589 h 597"/>
                    <a:gd name="T56" fmla="*/ 530 w 597"/>
                    <a:gd name="T57" fmla="*/ 595 h 597"/>
                    <a:gd name="T58" fmla="*/ 513 w 597"/>
                    <a:gd name="T59" fmla="*/ 597 h 597"/>
                    <a:gd name="T60" fmla="*/ 494 w 597"/>
                    <a:gd name="T61" fmla="*/ 595 h 597"/>
                    <a:gd name="T62" fmla="*/ 475 w 597"/>
                    <a:gd name="T63" fmla="*/ 589 h 597"/>
                    <a:gd name="T64" fmla="*/ 459 w 597"/>
                    <a:gd name="T65" fmla="*/ 579 h 597"/>
                    <a:gd name="T66" fmla="*/ 438 w 597"/>
                    <a:gd name="T67" fmla="*/ 561 h 597"/>
                    <a:gd name="T68" fmla="*/ 416 w 597"/>
                    <a:gd name="T69" fmla="*/ 541 h 597"/>
                    <a:gd name="T70" fmla="*/ 391 w 597"/>
                    <a:gd name="T71" fmla="*/ 519 h 597"/>
                    <a:gd name="T72" fmla="*/ 365 w 597"/>
                    <a:gd name="T73" fmla="*/ 494 h 597"/>
                    <a:gd name="T74" fmla="*/ 338 w 597"/>
                    <a:gd name="T75" fmla="*/ 468 h 597"/>
                    <a:gd name="T76" fmla="*/ 309 w 597"/>
                    <a:gd name="T77" fmla="*/ 441 h 597"/>
                    <a:gd name="T78" fmla="*/ 281 w 597"/>
                    <a:gd name="T79" fmla="*/ 412 h 597"/>
                    <a:gd name="T80" fmla="*/ 252 w 597"/>
                    <a:gd name="T81" fmla="*/ 382 h 597"/>
                    <a:gd name="T82" fmla="*/ 222 w 597"/>
                    <a:gd name="T83" fmla="*/ 353 h 597"/>
                    <a:gd name="T84" fmla="*/ 195 w 597"/>
                    <a:gd name="T85" fmla="*/ 324 h 597"/>
                    <a:gd name="T86" fmla="*/ 168 w 597"/>
                    <a:gd name="T87" fmla="*/ 296 h 597"/>
                    <a:gd name="T88" fmla="*/ 141 w 597"/>
                    <a:gd name="T89" fmla="*/ 268 h 597"/>
                    <a:gd name="T90" fmla="*/ 117 w 597"/>
                    <a:gd name="T91" fmla="*/ 243 h 597"/>
                    <a:gd name="T92" fmla="*/ 94 w 597"/>
                    <a:gd name="T93" fmla="*/ 220 h 597"/>
                    <a:gd name="T94" fmla="*/ 74 w 597"/>
                    <a:gd name="T95" fmla="*/ 199 h 597"/>
                    <a:gd name="T96" fmla="*/ 57 w 597"/>
                    <a:gd name="T97" fmla="*/ 180 h 597"/>
                    <a:gd name="T98" fmla="*/ 42 w 597"/>
                    <a:gd name="T99" fmla="*/ 165 h 597"/>
                    <a:gd name="T100" fmla="*/ 32 w 597"/>
                    <a:gd name="T101" fmla="*/ 153 h 597"/>
                    <a:gd name="T102" fmla="*/ 25 w 597"/>
                    <a:gd name="T103" fmla="*/ 145 h 597"/>
                    <a:gd name="T104" fmla="*/ 22 w 597"/>
                    <a:gd name="T105" fmla="*/ 143 h 597"/>
                    <a:gd name="T106" fmla="*/ 10 w 597"/>
                    <a:gd name="T107" fmla="*/ 124 h 597"/>
                    <a:gd name="T108" fmla="*/ 2 w 597"/>
                    <a:gd name="T109" fmla="*/ 103 h 597"/>
                    <a:gd name="T110" fmla="*/ 0 w 597"/>
                    <a:gd name="T111" fmla="*/ 82 h 597"/>
                    <a:gd name="T112" fmla="*/ 4 w 597"/>
                    <a:gd name="T113" fmla="*/ 60 h 597"/>
                    <a:gd name="T114" fmla="*/ 12 w 597"/>
                    <a:gd name="T115" fmla="*/ 40 h 597"/>
                    <a:gd name="T116" fmla="*/ 27 w 597"/>
                    <a:gd name="T117" fmla="*/ 22 h 597"/>
                    <a:gd name="T118" fmla="*/ 46 w 597"/>
                    <a:gd name="T119" fmla="*/ 9 h 597"/>
                    <a:gd name="T120" fmla="*/ 67 w 597"/>
                    <a:gd name="T121" fmla="*/ 1 h 597"/>
                    <a:gd name="T122" fmla="*/ 89 w 597"/>
                    <a:gd name="T123" fmla="*/ 0 h 5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97" h="597">
                      <a:moveTo>
                        <a:pt x="89" y="0"/>
                      </a:moveTo>
                      <a:lnTo>
                        <a:pt x="110" y="4"/>
                      </a:lnTo>
                      <a:lnTo>
                        <a:pt x="130" y="12"/>
                      </a:lnTo>
                      <a:lnTo>
                        <a:pt x="148" y="27"/>
                      </a:lnTo>
                      <a:lnTo>
                        <a:pt x="161" y="41"/>
                      </a:lnTo>
                      <a:lnTo>
                        <a:pt x="179" y="60"/>
                      </a:lnTo>
                      <a:lnTo>
                        <a:pt x="200" y="82"/>
                      </a:lnTo>
                      <a:lnTo>
                        <a:pt x="223" y="108"/>
                      </a:lnTo>
                      <a:lnTo>
                        <a:pt x="251" y="135"/>
                      </a:lnTo>
                      <a:lnTo>
                        <a:pt x="279" y="166"/>
                      </a:lnTo>
                      <a:lnTo>
                        <a:pt x="309" y="197"/>
                      </a:lnTo>
                      <a:lnTo>
                        <a:pt x="340" y="230"/>
                      </a:lnTo>
                      <a:lnTo>
                        <a:pt x="372" y="262"/>
                      </a:lnTo>
                      <a:lnTo>
                        <a:pt x="403" y="294"/>
                      </a:lnTo>
                      <a:lnTo>
                        <a:pt x="436" y="325"/>
                      </a:lnTo>
                      <a:lnTo>
                        <a:pt x="465" y="354"/>
                      </a:lnTo>
                      <a:lnTo>
                        <a:pt x="494" y="381"/>
                      </a:lnTo>
                      <a:lnTo>
                        <a:pt x="520" y="406"/>
                      </a:lnTo>
                      <a:lnTo>
                        <a:pt x="545" y="428"/>
                      </a:lnTo>
                      <a:lnTo>
                        <a:pt x="566" y="446"/>
                      </a:lnTo>
                      <a:lnTo>
                        <a:pt x="581" y="462"/>
                      </a:lnTo>
                      <a:lnTo>
                        <a:pt x="592" y="482"/>
                      </a:lnTo>
                      <a:lnTo>
                        <a:pt x="597" y="503"/>
                      </a:lnTo>
                      <a:lnTo>
                        <a:pt x="597" y="524"/>
                      </a:lnTo>
                      <a:lnTo>
                        <a:pt x="591" y="545"/>
                      </a:lnTo>
                      <a:lnTo>
                        <a:pt x="578" y="565"/>
                      </a:lnTo>
                      <a:lnTo>
                        <a:pt x="565" y="579"/>
                      </a:lnTo>
                      <a:lnTo>
                        <a:pt x="549" y="589"/>
                      </a:lnTo>
                      <a:lnTo>
                        <a:pt x="530" y="595"/>
                      </a:lnTo>
                      <a:lnTo>
                        <a:pt x="513" y="597"/>
                      </a:lnTo>
                      <a:lnTo>
                        <a:pt x="494" y="595"/>
                      </a:lnTo>
                      <a:lnTo>
                        <a:pt x="475" y="589"/>
                      </a:lnTo>
                      <a:lnTo>
                        <a:pt x="459" y="579"/>
                      </a:lnTo>
                      <a:lnTo>
                        <a:pt x="438" y="561"/>
                      </a:lnTo>
                      <a:lnTo>
                        <a:pt x="416" y="541"/>
                      </a:lnTo>
                      <a:lnTo>
                        <a:pt x="391" y="519"/>
                      </a:lnTo>
                      <a:lnTo>
                        <a:pt x="365" y="494"/>
                      </a:lnTo>
                      <a:lnTo>
                        <a:pt x="338" y="468"/>
                      </a:lnTo>
                      <a:lnTo>
                        <a:pt x="309" y="441"/>
                      </a:lnTo>
                      <a:lnTo>
                        <a:pt x="281" y="412"/>
                      </a:lnTo>
                      <a:lnTo>
                        <a:pt x="252" y="382"/>
                      </a:lnTo>
                      <a:lnTo>
                        <a:pt x="222" y="353"/>
                      </a:lnTo>
                      <a:lnTo>
                        <a:pt x="195" y="324"/>
                      </a:lnTo>
                      <a:lnTo>
                        <a:pt x="168" y="296"/>
                      </a:lnTo>
                      <a:lnTo>
                        <a:pt x="141" y="268"/>
                      </a:lnTo>
                      <a:lnTo>
                        <a:pt x="117" y="243"/>
                      </a:lnTo>
                      <a:lnTo>
                        <a:pt x="94" y="220"/>
                      </a:lnTo>
                      <a:lnTo>
                        <a:pt x="74" y="199"/>
                      </a:lnTo>
                      <a:lnTo>
                        <a:pt x="57" y="180"/>
                      </a:lnTo>
                      <a:lnTo>
                        <a:pt x="42" y="165"/>
                      </a:lnTo>
                      <a:lnTo>
                        <a:pt x="32" y="153"/>
                      </a:lnTo>
                      <a:lnTo>
                        <a:pt x="25" y="145"/>
                      </a:lnTo>
                      <a:lnTo>
                        <a:pt x="22" y="143"/>
                      </a:lnTo>
                      <a:lnTo>
                        <a:pt x="10" y="124"/>
                      </a:lnTo>
                      <a:lnTo>
                        <a:pt x="2" y="103"/>
                      </a:lnTo>
                      <a:lnTo>
                        <a:pt x="0" y="82"/>
                      </a:lnTo>
                      <a:lnTo>
                        <a:pt x="4" y="60"/>
                      </a:lnTo>
                      <a:lnTo>
                        <a:pt x="12" y="40"/>
                      </a:lnTo>
                      <a:lnTo>
                        <a:pt x="27" y="22"/>
                      </a:lnTo>
                      <a:lnTo>
                        <a:pt x="46" y="9"/>
                      </a:lnTo>
                      <a:lnTo>
                        <a:pt x="67" y="1"/>
                      </a:lnTo>
                      <a:lnTo>
                        <a:pt x="89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57" name="Freeform 28"/>
                <p:cNvSpPr>
                  <a:spLocks/>
                </p:cNvSpPr>
                <p:nvPr/>
              </p:nvSpPr>
              <p:spPr bwMode="auto">
                <a:xfrm>
                  <a:off x="2539" y="2757"/>
                  <a:ext cx="597" cy="599"/>
                </a:xfrm>
                <a:custGeom>
                  <a:avLst/>
                  <a:gdLst>
                    <a:gd name="T0" fmla="*/ 88 w 597"/>
                    <a:gd name="T1" fmla="*/ 0 h 599"/>
                    <a:gd name="T2" fmla="*/ 109 w 597"/>
                    <a:gd name="T3" fmla="*/ 4 h 599"/>
                    <a:gd name="T4" fmla="*/ 130 w 597"/>
                    <a:gd name="T5" fmla="*/ 13 h 599"/>
                    <a:gd name="T6" fmla="*/ 147 w 597"/>
                    <a:gd name="T7" fmla="*/ 27 h 599"/>
                    <a:gd name="T8" fmla="*/ 159 w 597"/>
                    <a:gd name="T9" fmla="*/ 40 h 599"/>
                    <a:gd name="T10" fmla="*/ 175 w 597"/>
                    <a:gd name="T11" fmla="*/ 56 h 599"/>
                    <a:gd name="T12" fmla="*/ 193 w 597"/>
                    <a:gd name="T13" fmla="*/ 77 h 599"/>
                    <a:gd name="T14" fmla="*/ 217 w 597"/>
                    <a:gd name="T15" fmla="*/ 101 h 599"/>
                    <a:gd name="T16" fmla="*/ 242 w 597"/>
                    <a:gd name="T17" fmla="*/ 127 h 599"/>
                    <a:gd name="T18" fmla="*/ 269 w 597"/>
                    <a:gd name="T19" fmla="*/ 157 h 599"/>
                    <a:gd name="T20" fmla="*/ 299 w 597"/>
                    <a:gd name="T21" fmla="*/ 186 h 599"/>
                    <a:gd name="T22" fmla="*/ 330 w 597"/>
                    <a:gd name="T23" fmla="*/ 219 h 599"/>
                    <a:gd name="T24" fmla="*/ 361 w 597"/>
                    <a:gd name="T25" fmla="*/ 251 h 599"/>
                    <a:gd name="T26" fmla="*/ 393 w 597"/>
                    <a:gd name="T27" fmla="*/ 283 h 599"/>
                    <a:gd name="T28" fmla="*/ 425 w 597"/>
                    <a:gd name="T29" fmla="*/ 314 h 599"/>
                    <a:gd name="T30" fmla="*/ 456 w 597"/>
                    <a:gd name="T31" fmla="*/ 345 h 599"/>
                    <a:gd name="T32" fmla="*/ 487 w 597"/>
                    <a:gd name="T33" fmla="*/ 375 h 599"/>
                    <a:gd name="T34" fmla="*/ 516 w 597"/>
                    <a:gd name="T35" fmla="*/ 402 h 599"/>
                    <a:gd name="T36" fmla="*/ 542 w 597"/>
                    <a:gd name="T37" fmla="*/ 426 h 599"/>
                    <a:gd name="T38" fmla="*/ 567 w 597"/>
                    <a:gd name="T39" fmla="*/ 447 h 599"/>
                    <a:gd name="T40" fmla="*/ 582 w 597"/>
                    <a:gd name="T41" fmla="*/ 464 h 599"/>
                    <a:gd name="T42" fmla="*/ 592 w 597"/>
                    <a:gd name="T43" fmla="*/ 484 h 599"/>
                    <a:gd name="T44" fmla="*/ 597 w 597"/>
                    <a:gd name="T45" fmla="*/ 505 h 599"/>
                    <a:gd name="T46" fmla="*/ 595 w 597"/>
                    <a:gd name="T47" fmla="*/ 527 h 599"/>
                    <a:gd name="T48" fmla="*/ 589 w 597"/>
                    <a:gd name="T49" fmla="*/ 548 h 599"/>
                    <a:gd name="T50" fmla="*/ 577 w 597"/>
                    <a:gd name="T51" fmla="*/ 568 h 599"/>
                    <a:gd name="T52" fmla="*/ 563 w 597"/>
                    <a:gd name="T53" fmla="*/ 581 h 599"/>
                    <a:gd name="T54" fmla="*/ 547 w 597"/>
                    <a:gd name="T55" fmla="*/ 590 h 599"/>
                    <a:gd name="T56" fmla="*/ 530 w 597"/>
                    <a:gd name="T57" fmla="*/ 596 h 599"/>
                    <a:gd name="T58" fmla="*/ 511 w 597"/>
                    <a:gd name="T59" fmla="*/ 599 h 599"/>
                    <a:gd name="T60" fmla="*/ 492 w 597"/>
                    <a:gd name="T61" fmla="*/ 596 h 599"/>
                    <a:gd name="T62" fmla="*/ 474 w 597"/>
                    <a:gd name="T63" fmla="*/ 589 h 599"/>
                    <a:gd name="T64" fmla="*/ 456 w 597"/>
                    <a:gd name="T65" fmla="*/ 577 h 599"/>
                    <a:gd name="T66" fmla="*/ 430 w 597"/>
                    <a:gd name="T67" fmla="*/ 555 h 599"/>
                    <a:gd name="T68" fmla="*/ 401 w 597"/>
                    <a:gd name="T69" fmla="*/ 528 h 599"/>
                    <a:gd name="T70" fmla="*/ 370 w 597"/>
                    <a:gd name="T71" fmla="*/ 499 h 599"/>
                    <a:gd name="T72" fmla="*/ 337 w 597"/>
                    <a:gd name="T73" fmla="*/ 468 h 599"/>
                    <a:gd name="T74" fmla="*/ 304 w 597"/>
                    <a:gd name="T75" fmla="*/ 435 h 599"/>
                    <a:gd name="T76" fmla="*/ 270 w 597"/>
                    <a:gd name="T77" fmla="*/ 401 h 599"/>
                    <a:gd name="T78" fmla="*/ 235 w 597"/>
                    <a:gd name="T79" fmla="*/ 366 h 599"/>
                    <a:gd name="T80" fmla="*/ 202 w 597"/>
                    <a:gd name="T81" fmla="*/ 332 h 599"/>
                    <a:gd name="T82" fmla="*/ 170 w 597"/>
                    <a:gd name="T83" fmla="*/ 298 h 599"/>
                    <a:gd name="T84" fmla="*/ 139 w 597"/>
                    <a:gd name="T85" fmla="*/ 266 h 599"/>
                    <a:gd name="T86" fmla="*/ 109 w 597"/>
                    <a:gd name="T87" fmla="*/ 236 h 599"/>
                    <a:gd name="T88" fmla="*/ 83 w 597"/>
                    <a:gd name="T89" fmla="*/ 208 h 599"/>
                    <a:gd name="T90" fmla="*/ 59 w 597"/>
                    <a:gd name="T91" fmla="*/ 183 h 599"/>
                    <a:gd name="T92" fmla="*/ 39 w 597"/>
                    <a:gd name="T93" fmla="*/ 162 h 599"/>
                    <a:gd name="T94" fmla="*/ 23 w 597"/>
                    <a:gd name="T95" fmla="*/ 144 h 599"/>
                    <a:gd name="T96" fmla="*/ 10 w 597"/>
                    <a:gd name="T97" fmla="*/ 126 h 599"/>
                    <a:gd name="T98" fmla="*/ 2 w 597"/>
                    <a:gd name="T99" fmla="*/ 104 h 599"/>
                    <a:gd name="T100" fmla="*/ 0 w 597"/>
                    <a:gd name="T101" fmla="*/ 83 h 599"/>
                    <a:gd name="T102" fmla="*/ 3 w 597"/>
                    <a:gd name="T103" fmla="*/ 61 h 599"/>
                    <a:gd name="T104" fmla="*/ 12 w 597"/>
                    <a:gd name="T105" fmla="*/ 41 h 599"/>
                    <a:gd name="T106" fmla="*/ 27 w 597"/>
                    <a:gd name="T107" fmla="*/ 24 h 599"/>
                    <a:gd name="T108" fmla="*/ 46 w 597"/>
                    <a:gd name="T109" fmla="*/ 10 h 599"/>
                    <a:gd name="T110" fmla="*/ 67 w 597"/>
                    <a:gd name="T111" fmla="*/ 3 h 599"/>
                    <a:gd name="T112" fmla="*/ 88 w 597"/>
                    <a:gd name="T113" fmla="*/ 0 h 5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597" h="599">
                      <a:moveTo>
                        <a:pt x="88" y="0"/>
                      </a:moveTo>
                      <a:lnTo>
                        <a:pt x="109" y="4"/>
                      </a:lnTo>
                      <a:lnTo>
                        <a:pt x="130" y="13"/>
                      </a:lnTo>
                      <a:lnTo>
                        <a:pt x="147" y="27"/>
                      </a:lnTo>
                      <a:lnTo>
                        <a:pt x="159" y="40"/>
                      </a:lnTo>
                      <a:lnTo>
                        <a:pt x="175" y="56"/>
                      </a:lnTo>
                      <a:lnTo>
                        <a:pt x="193" y="77"/>
                      </a:lnTo>
                      <a:lnTo>
                        <a:pt x="217" y="101"/>
                      </a:lnTo>
                      <a:lnTo>
                        <a:pt x="242" y="127"/>
                      </a:lnTo>
                      <a:lnTo>
                        <a:pt x="269" y="157"/>
                      </a:lnTo>
                      <a:lnTo>
                        <a:pt x="299" y="186"/>
                      </a:lnTo>
                      <a:lnTo>
                        <a:pt x="330" y="219"/>
                      </a:lnTo>
                      <a:lnTo>
                        <a:pt x="361" y="251"/>
                      </a:lnTo>
                      <a:lnTo>
                        <a:pt x="393" y="283"/>
                      </a:lnTo>
                      <a:lnTo>
                        <a:pt x="425" y="314"/>
                      </a:lnTo>
                      <a:lnTo>
                        <a:pt x="456" y="345"/>
                      </a:lnTo>
                      <a:lnTo>
                        <a:pt x="487" y="375"/>
                      </a:lnTo>
                      <a:lnTo>
                        <a:pt x="516" y="402"/>
                      </a:lnTo>
                      <a:lnTo>
                        <a:pt x="542" y="426"/>
                      </a:lnTo>
                      <a:lnTo>
                        <a:pt x="567" y="447"/>
                      </a:lnTo>
                      <a:lnTo>
                        <a:pt x="582" y="464"/>
                      </a:lnTo>
                      <a:lnTo>
                        <a:pt x="592" y="484"/>
                      </a:lnTo>
                      <a:lnTo>
                        <a:pt x="597" y="505"/>
                      </a:lnTo>
                      <a:lnTo>
                        <a:pt x="595" y="527"/>
                      </a:lnTo>
                      <a:lnTo>
                        <a:pt x="589" y="548"/>
                      </a:lnTo>
                      <a:lnTo>
                        <a:pt x="577" y="568"/>
                      </a:lnTo>
                      <a:lnTo>
                        <a:pt x="563" y="581"/>
                      </a:lnTo>
                      <a:lnTo>
                        <a:pt x="547" y="590"/>
                      </a:lnTo>
                      <a:lnTo>
                        <a:pt x="530" y="596"/>
                      </a:lnTo>
                      <a:lnTo>
                        <a:pt x="511" y="599"/>
                      </a:lnTo>
                      <a:lnTo>
                        <a:pt x="492" y="596"/>
                      </a:lnTo>
                      <a:lnTo>
                        <a:pt x="474" y="589"/>
                      </a:lnTo>
                      <a:lnTo>
                        <a:pt x="456" y="577"/>
                      </a:lnTo>
                      <a:lnTo>
                        <a:pt x="430" y="555"/>
                      </a:lnTo>
                      <a:lnTo>
                        <a:pt x="401" y="528"/>
                      </a:lnTo>
                      <a:lnTo>
                        <a:pt x="370" y="499"/>
                      </a:lnTo>
                      <a:lnTo>
                        <a:pt x="337" y="468"/>
                      </a:lnTo>
                      <a:lnTo>
                        <a:pt x="304" y="435"/>
                      </a:lnTo>
                      <a:lnTo>
                        <a:pt x="270" y="401"/>
                      </a:lnTo>
                      <a:lnTo>
                        <a:pt x="235" y="366"/>
                      </a:lnTo>
                      <a:lnTo>
                        <a:pt x="202" y="332"/>
                      </a:lnTo>
                      <a:lnTo>
                        <a:pt x="170" y="298"/>
                      </a:lnTo>
                      <a:lnTo>
                        <a:pt x="139" y="266"/>
                      </a:lnTo>
                      <a:lnTo>
                        <a:pt x="109" y="236"/>
                      </a:lnTo>
                      <a:lnTo>
                        <a:pt x="83" y="208"/>
                      </a:lnTo>
                      <a:lnTo>
                        <a:pt x="59" y="183"/>
                      </a:lnTo>
                      <a:lnTo>
                        <a:pt x="39" y="162"/>
                      </a:lnTo>
                      <a:lnTo>
                        <a:pt x="23" y="144"/>
                      </a:lnTo>
                      <a:lnTo>
                        <a:pt x="10" y="126"/>
                      </a:lnTo>
                      <a:lnTo>
                        <a:pt x="2" y="104"/>
                      </a:lnTo>
                      <a:lnTo>
                        <a:pt x="0" y="83"/>
                      </a:lnTo>
                      <a:lnTo>
                        <a:pt x="3" y="61"/>
                      </a:lnTo>
                      <a:lnTo>
                        <a:pt x="12" y="41"/>
                      </a:lnTo>
                      <a:lnTo>
                        <a:pt x="27" y="24"/>
                      </a:lnTo>
                      <a:lnTo>
                        <a:pt x="46" y="10"/>
                      </a:lnTo>
                      <a:lnTo>
                        <a:pt x="67" y="3"/>
                      </a:lnTo>
                      <a:lnTo>
                        <a:pt x="88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58" name="Freeform 29"/>
                <p:cNvSpPr>
                  <a:spLocks noEditPoints="1"/>
                </p:cNvSpPr>
                <p:nvPr/>
              </p:nvSpPr>
              <p:spPr bwMode="auto">
                <a:xfrm>
                  <a:off x="832" y="880"/>
                  <a:ext cx="1024" cy="1707"/>
                </a:xfrm>
                <a:custGeom>
                  <a:avLst/>
                  <a:gdLst>
                    <a:gd name="T0" fmla="*/ 170 w 1024"/>
                    <a:gd name="T1" fmla="*/ 1536 h 1707"/>
                    <a:gd name="T2" fmla="*/ 546 w 1024"/>
                    <a:gd name="T3" fmla="*/ 1502 h 1707"/>
                    <a:gd name="T4" fmla="*/ 572 w 1024"/>
                    <a:gd name="T5" fmla="*/ 1417 h 1707"/>
                    <a:gd name="T6" fmla="*/ 604 w 1024"/>
                    <a:gd name="T7" fmla="*/ 1311 h 1707"/>
                    <a:gd name="T8" fmla="*/ 640 w 1024"/>
                    <a:gd name="T9" fmla="*/ 1188 h 1707"/>
                    <a:gd name="T10" fmla="*/ 679 w 1024"/>
                    <a:gd name="T11" fmla="*/ 1053 h 1707"/>
                    <a:gd name="T12" fmla="*/ 717 w 1024"/>
                    <a:gd name="T13" fmla="*/ 910 h 1707"/>
                    <a:gd name="T14" fmla="*/ 755 w 1024"/>
                    <a:gd name="T15" fmla="*/ 765 h 1707"/>
                    <a:gd name="T16" fmla="*/ 789 w 1024"/>
                    <a:gd name="T17" fmla="*/ 621 h 1707"/>
                    <a:gd name="T18" fmla="*/ 818 w 1024"/>
                    <a:gd name="T19" fmla="*/ 483 h 1707"/>
                    <a:gd name="T20" fmla="*/ 840 w 1024"/>
                    <a:gd name="T21" fmla="*/ 356 h 1707"/>
                    <a:gd name="T22" fmla="*/ 814 w 1024"/>
                    <a:gd name="T23" fmla="*/ 283 h 1707"/>
                    <a:gd name="T24" fmla="*/ 722 w 1024"/>
                    <a:gd name="T25" fmla="*/ 257 h 1707"/>
                    <a:gd name="T26" fmla="*/ 604 w 1024"/>
                    <a:gd name="T27" fmla="*/ 231 h 1707"/>
                    <a:gd name="T28" fmla="*/ 468 w 1024"/>
                    <a:gd name="T29" fmla="*/ 210 h 1707"/>
                    <a:gd name="T30" fmla="*/ 321 w 1024"/>
                    <a:gd name="T31" fmla="*/ 191 h 1707"/>
                    <a:gd name="T32" fmla="*/ 170 w 1024"/>
                    <a:gd name="T33" fmla="*/ 176 h 1707"/>
                    <a:gd name="T34" fmla="*/ 123 w 1024"/>
                    <a:gd name="T35" fmla="*/ 2 h 1707"/>
                    <a:gd name="T36" fmla="*/ 209 w 1024"/>
                    <a:gd name="T37" fmla="*/ 9 h 1707"/>
                    <a:gd name="T38" fmla="*/ 314 w 1024"/>
                    <a:gd name="T39" fmla="*/ 17 h 1707"/>
                    <a:gd name="T40" fmla="*/ 431 w 1024"/>
                    <a:gd name="T41" fmla="*/ 31 h 1707"/>
                    <a:gd name="T42" fmla="*/ 555 w 1024"/>
                    <a:gd name="T43" fmla="*/ 48 h 1707"/>
                    <a:gd name="T44" fmla="*/ 678 w 1024"/>
                    <a:gd name="T45" fmla="*/ 71 h 1707"/>
                    <a:gd name="T46" fmla="*/ 792 w 1024"/>
                    <a:gd name="T47" fmla="*/ 98 h 1707"/>
                    <a:gd name="T48" fmla="*/ 891 w 1024"/>
                    <a:gd name="T49" fmla="*/ 132 h 1707"/>
                    <a:gd name="T50" fmla="*/ 969 w 1024"/>
                    <a:gd name="T51" fmla="*/ 171 h 1707"/>
                    <a:gd name="T52" fmla="*/ 1010 w 1024"/>
                    <a:gd name="T53" fmla="*/ 209 h 1707"/>
                    <a:gd name="T54" fmla="*/ 1023 w 1024"/>
                    <a:gd name="T55" fmla="*/ 243 h 1707"/>
                    <a:gd name="T56" fmla="*/ 1018 w 1024"/>
                    <a:gd name="T57" fmla="*/ 314 h 1707"/>
                    <a:gd name="T58" fmla="*/ 1002 w 1024"/>
                    <a:gd name="T59" fmla="*/ 426 h 1707"/>
                    <a:gd name="T60" fmla="*/ 979 w 1024"/>
                    <a:gd name="T61" fmla="*/ 549 h 1707"/>
                    <a:gd name="T62" fmla="*/ 952 w 1024"/>
                    <a:gd name="T63" fmla="*/ 678 h 1707"/>
                    <a:gd name="T64" fmla="*/ 920 w 1024"/>
                    <a:gd name="T65" fmla="*/ 811 h 1707"/>
                    <a:gd name="T66" fmla="*/ 885 w 1024"/>
                    <a:gd name="T67" fmla="*/ 945 h 1707"/>
                    <a:gd name="T68" fmla="*/ 850 w 1024"/>
                    <a:gd name="T69" fmla="*/ 1075 h 1707"/>
                    <a:gd name="T70" fmla="*/ 814 w 1024"/>
                    <a:gd name="T71" fmla="*/ 1201 h 1707"/>
                    <a:gd name="T72" fmla="*/ 781 w 1024"/>
                    <a:gd name="T73" fmla="*/ 1317 h 1707"/>
                    <a:gd name="T74" fmla="*/ 750 w 1024"/>
                    <a:gd name="T75" fmla="*/ 1420 h 1707"/>
                    <a:gd name="T76" fmla="*/ 722 w 1024"/>
                    <a:gd name="T77" fmla="*/ 1508 h 1707"/>
                    <a:gd name="T78" fmla="*/ 701 w 1024"/>
                    <a:gd name="T79" fmla="*/ 1578 h 1707"/>
                    <a:gd name="T80" fmla="*/ 685 w 1024"/>
                    <a:gd name="T81" fmla="*/ 1625 h 1707"/>
                    <a:gd name="T82" fmla="*/ 679 w 1024"/>
                    <a:gd name="T83" fmla="*/ 1647 h 1707"/>
                    <a:gd name="T84" fmla="*/ 655 w 1024"/>
                    <a:gd name="T85" fmla="*/ 1683 h 1707"/>
                    <a:gd name="T86" fmla="*/ 619 w 1024"/>
                    <a:gd name="T87" fmla="*/ 1705 h 1707"/>
                    <a:gd name="T88" fmla="*/ 86 w 1024"/>
                    <a:gd name="T89" fmla="*/ 1707 h 1707"/>
                    <a:gd name="T90" fmla="*/ 42 w 1024"/>
                    <a:gd name="T91" fmla="*/ 1695 h 1707"/>
                    <a:gd name="T92" fmla="*/ 11 w 1024"/>
                    <a:gd name="T93" fmla="*/ 1665 h 1707"/>
                    <a:gd name="T94" fmla="*/ 0 w 1024"/>
                    <a:gd name="T95" fmla="*/ 1621 h 1707"/>
                    <a:gd name="T96" fmla="*/ 4 w 1024"/>
                    <a:gd name="T97" fmla="*/ 62 h 1707"/>
                    <a:gd name="T98" fmla="*/ 27 w 1024"/>
                    <a:gd name="T99" fmla="*/ 22 h 1707"/>
                    <a:gd name="T100" fmla="*/ 67 w 1024"/>
                    <a:gd name="T101" fmla="*/ 1 h 17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024" h="1707">
                      <a:moveTo>
                        <a:pt x="170" y="176"/>
                      </a:moveTo>
                      <a:lnTo>
                        <a:pt x="170" y="1536"/>
                      </a:lnTo>
                      <a:lnTo>
                        <a:pt x="535" y="1536"/>
                      </a:lnTo>
                      <a:lnTo>
                        <a:pt x="546" y="1502"/>
                      </a:lnTo>
                      <a:lnTo>
                        <a:pt x="559" y="1463"/>
                      </a:lnTo>
                      <a:lnTo>
                        <a:pt x="572" y="1417"/>
                      </a:lnTo>
                      <a:lnTo>
                        <a:pt x="587" y="1366"/>
                      </a:lnTo>
                      <a:lnTo>
                        <a:pt x="604" y="1311"/>
                      </a:lnTo>
                      <a:lnTo>
                        <a:pt x="622" y="1251"/>
                      </a:lnTo>
                      <a:lnTo>
                        <a:pt x="640" y="1188"/>
                      </a:lnTo>
                      <a:lnTo>
                        <a:pt x="660" y="1121"/>
                      </a:lnTo>
                      <a:lnTo>
                        <a:pt x="679" y="1053"/>
                      </a:lnTo>
                      <a:lnTo>
                        <a:pt x="699" y="982"/>
                      </a:lnTo>
                      <a:lnTo>
                        <a:pt x="717" y="910"/>
                      </a:lnTo>
                      <a:lnTo>
                        <a:pt x="737" y="837"/>
                      </a:lnTo>
                      <a:lnTo>
                        <a:pt x="755" y="765"/>
                      </a:lnTo>
                      <a:lnTo>
                        <a:pt x="773" y="692"/>
                      </a:lnTo>
                      <a:lnTo>
                        <a:pt x="789" y="621"/>
                      </a:lnTo>
                      <a:lnTo>
                        <a:pt x="804" y="551"/>
                      </a:lnTo>
                      <a:lnTo>
                        <a:pt x="818" y="483"/>
                      </a:lnTo>
                      <a:lnTo>
                        <a:pt x="830" y="417"/>
                      </a:lnTo>
                      <a:lnTo>
                        <a:pt x="840" y="356"/>
                      </a:lnTo>
                      <a:lnTo>
                        <a:pt x="849" y="298"/>
                      </a:lnTo>
                      <a:lnTo>
                        <a:pt x="814" y="283"/>
                      </a:lnTo>
                      <a:lnTo>
                        <a:pt x="772" y="269"/>
                      </a:lnTo>
                      <a:lnTo>
                        <a:pt x="722" y="257"/>
                      </a:lnTo>
                      <a:lnTo>
                        <a:pt x="667" y="243"/>
                      </a:lnTo>
                      <a:lnTo>
                        <a:pt x="604" y="231"/>
                      </a:lnTo>
                      <a:lnTo>
                        <a:pt x="539" y="220"/>
                      </a:lnTo>
                      <a:lnTo>
                        <a:pt x="468" y="210"/>
                      </a:lnTo>
                      <a:lnTo>
                        <a:pt x="396" y="200"/>
                      </a:lnTo>
                      <a:lnTo>
                        <a:pt x="321" y="191"/>
                      </a:lnTo>
                      <a:lnTo>
                        <a:pt x="246" y="183"/>
                      </a:lnTo>
                      <a:lnTo>
                        <a:pt x="170" y="176"/>
                      </a:lnTo>
                      <a:close/>
                      <a:moveTo>
                        <a:pt x="91" y="0"/>
                      </a:moveTo>
                      <a:lnTo>
                        <a:pt x="123" y="2"/>
                      </a:lnTo>
                      <a:lnTo>
                        <a:pt x="163" y="5"/>
                      </a:lnTo>
                      <a:lnTo>
                        <a:pt x="209" y="9"/>
                      </a:lnTo>
                      <a:lnTo>
                        <a:pt x="259" y="12"/>
                      </a:lnTo>
                      <a:lnTo>
                        <a:pt x="314" y="17"/>
                      </a:lnTo>
                      <a:lnTo>
                        <a:pt x="371" y="24"/>
                      </a:lnTo>
                      <a:lnTo>
                        <a:pt x="431" y="31"/>
                      </a:lnTo>
                      <a:lnTo>
                        <a:pt x="493" y="40"/>
                      </a:lnTo>
                      <a:lnTo>
                        <a:pt x="555" y="48"/>
                      </a:lnTo>
                      <a:lnTo>
                        <a:pt x="617" y="60"/>
                      </a:lnTo>
                      <a:lnTo>
                        <a:pt x="678" y="71"/>
                      </a:lnTo>
                      <a:lnTo>
                        <a:pt x="736" y="84"/>
                      </a:lnTo>
                      <a:lnTo>
                        <a:pt x="792" y="98"/>
                      </a:lnTo>
                      <a:lnTo>
                        <a:pt x="844" y="114"/>
                      </a:lnTo>
                      <a:lnTo>
                        <a:pt x="891" y="132"/>
                      </a:lnTo>
                      <a:lnTo>
                        <a:pt x="933" y="151"/>
                      </a:lnTo>
                      <a:lnTo>
                        <a:pt x="969" y="171"/>
                      </a:lnTo>
                      <a:lnTo>
                        <a:pt x="998" y="194"/>
                      </a:lnTo>
                      <a:lnTo>
                        <a:pt x="1010" y="209"/>
                      </a:lnTo>
                      <a:lnTo>
                        <a:pt x="1019" y="226"/>
                      </a:lnTo>
                      <a:lnTo>
                        <a:pt x="1023" y="243"/>
                      </a:lnTo>
                      <a:lnTo>
                        <a:pt x="1024" y="263"/>
                      </a:lnTo>
                      <a:lnTo>
                        <a:pt x="1018" y="314"/>
                      </a:lnTo>
                      <a:lnTo>
                        <a:pt x="1012" y="369"/>
                      </a:lnTo>
                      <a:lnTo>
                        <a:pt x="1002" y="426"/>
                      </a:lnTo>
                      <a:lnTo>
                        <a:pt x="992" y="487"/>
                      </a:lnTo>
                      <a:lnTo>
                        <a:pt x="979" y="549"/>
                      </a:lnTo>
                      <a:lnTo>
                        <a:pt x="966" y="612"/>
                      </a:lnTo>
                      <a:lnTo>
                        <a:pt x="952" y="678"/>
                      </a:lnTo>
                      <a:lnTo>
                        <a:pt x="936" y="744"/>
                      </a:lnTo>
                      <a:lnTo>
                        <a:pt x="920" y="811"/>
                      </a:lnTo>
                      <a:lnTo>
                        <a:pt x="902" y="878"/>
                      </a:lnTo>
                      <a:lnTo>
                        <a:pt x="885" y="945"/>
                      </a:lnTo>
                      <a:lnTo>
                        <a:pt x="868" y="1011"/>
                      </a:lnTo>
                      <a:lnTo>
                        <a:pt x="850" y="1075"/>
                      </a:lnTo>
                      <a:lnTo>
                        <a:pt x="833" y="1140"/>
                      </a:lnTo>
                      <a:lnTo>
                        <a:pt x="814" y="1201"/>
                      </a:lnTo>
                      <a:lnTo>
                        <a:pt x="798" y="1260"/>
                      </a:lnTo>
                      <a:lnTo>
                        <a:pt x="781" y="1317"/>
                      </a:lnTo>
                      <a:lnTo>
                        <a:pt x="765" y="1371"/>
                      </a:lnTo>
                      <a:lnTo>
                        <a:pt x="750" y="1420"/>
                      </a:lnTo>
                      <a:lnTo>
                        <a:pt x="736" y="1467"/>
                      </a:lnTo>
                      <a:lnTo>
                        <a:pt x="722" y="1508"/>
                      </a:lnTo>
                      <a:lnTo>
                        <a:pt x="711" y="1546"/>
                      </a:lnTo>
                      <a:lnTo>
                        <a:pt x="701" y="1578"/>
                      </a:lnTo>
                      <a:lnTo>
                        <a:pt x="693" y="1605"/>
                      </a:lnTo>
                      <a:lnTo>
                        <a:pt x="685" y="1625"/>
                      </a:lnTo>
                      <a:lnTo>
                        <a:pt x="681" y="1640"/>
                      </a:lnTo>
                      <a:lnTo>
                        <a:pt x="679" y="1647"/>
                      </a:lnTo>
                      <a:lnTo>
                        <a:pt x="669" y="1667"/>
                      </a:lnTo>
                      <a:lnTo>
                        <a:pt x="655" y="1683"/>
                      </a:lnTo>
                      <a:lnTo>
                        <a:pt x="638" y="1696"/>
                      </a:lnTo>
                      <a:lnTo>
                        <a:pt x="619" y="1705"/>
                      </a:lnTo>
                      <a:lnTo>
                        <a:pt x="597" y="1707"/>
                      </a:lnTo>
                      <a:lnTo>
                        <a:pt x="86" y="1707"/>
                      </a:lnTo>
                      <a:lnTo>
                        <a:pt x="62" y="1703"/>
                      </a:lnTo>
                      <a:lnTo>
                        <a:pt x="42" y="1695"/>
                      </a:lnTo>
                      <a:lnTo>
                        <a:pt x="25" y="1682"/>
                      </a:lnTo>
                      <a:lnTo>
                        <a:pt x="11" y="1665"/>
                      </a:lnTo>
                      <a:lnTo>
                        <a:pt x="2" y="1644"/>
                      </a:lnTo>
                      <a:lnTo>
                        <a:pt x="0" y="1621"/>
                      </a:lnTo>
                      <a:lnTo>
                        <a:pt x="0" y="86"/>
                      </a:lnTo>
                      <a:lnTo>
                        <a:pt x="4" y="62"/>
                      </a:lnTo>
                      <a:lnTo>
                        <a:pt x="12" y="41"/>
                      </a:lnTo>
                      <a:lnTo>
                        <a:pt x="27" y="22"/>
                      </a:lnTo>
                      <a:lnTo>
                        <a:pt x="46" y="10"/>
                      </a:lnTo>
                      <a:lnTo>
                        <a:pt x="67" y="1"/>
                      </a:lnTo>
                      <a:lnTo>
                        <a:pt x="91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59" name="Freeform 30"/>
                <p:cNvSpPr>
                  <a:spLocks noEditPoints="1"/>
                </p:cNvSpPr>
                <p:nvPr/>
              </p:nvSpPr>
              <p:spPr bwMode="auto">
                <a:xfrm>
                  <a:off x="3736" y="1050"/>
                  <a:ext cx="1192" cy="1707"/>
                </a:xfrm>
                <a:custGeom>
                  <a:avLst/>
                  <a:gdLst>
                    <a:gd name="T0" fmla="*/ 914 w 1192"/>
                    <a:gd name="T1" fmla="*/ 176 h 1707"/>
                    <a:gd name="T2" fmla="*/ 718 w 1192"/>
                    <a:gd name="T3" fmla="*/ 193 h 1707"/>
                    <a:gd name="T4" fmla="*/ 548 w 1192"/>
                    <a:gd name="T5" fmla="*/ 217 h 1707"/>
                    <a:gd name="T6" fmla="*/ 405 w 1192"/>
                    <a:gd name="T7" fmla="*/ 246 h 1707"/>
                    <a:gd name="T8" fmla="*/ 291 w 1192"/>
                    <a:gd name="T9" fmla="*/ 276 h 1707"/>
                    <a:gd name="T10" fmla="*/ 205 w 1192"/>
                    <a:gd name="T11" fmla="*/ 302 h 1707"/>
                    <a:gd name="T12" fmla="*/ 251 w 1192"/>
                    <a:gd name="T13" fmla="*/ 404 h 1707"/>
                    <a:gd name="T14" fmla="*/ 301 w 1192"/>
                    <a:gd name="T15" fmla="*/ 528 h 1707"/>
                    <a:gd name="T16" fmla="*/ 355 w 1192"/>
                    <a:gd name="T17" fmla="*/ 666 h 1707"/>
                    <a:gd name="T18" fmla="*/ 410 w 1192"/>
                    <a:gd name="T19" fmla="*/ 813 h 1707"/>
                    <a:gd name="T20" fmla="*/ 465 w 1192"/>
                    <a:gd name="T21" fmla="*/ 965 h 1707"/>
                    <a:gd name="T22" fmla="*/ 518 w 1192"/>
                    <a:gd name="T23" fmla="*/ 1114 h 1707"/>
                    <a:gd name="T24" fmla="*/ 566 w 1192"/>
                    <a:gd name="T25" fmla="*/ 1255 h 1707"/>
                    <a:gd name="T26" fmla="*/ 610 w 1192"/>
                    <a:gd name="T27" fmla="*/ 1383 h 1707"/>
                    <a:gd name="T28" fmla="*/ 645 w 1192"/>
                    <a:gd name="T29" fmla="*/ 1491 h 1707"/>
                    <a:gd name="T30" fmla="*/ 1022 w 1192"/>
                    <a:gd name="T31" fmla="*/ 1537 h 1707"/>
                    <a:gd name="T32" fmla="*/ 1106 w 1192"/>
                    <a:gd name="T33" fmla="*/ 0 h 1707"/>
                    <a:gd name="T34" fmla="*/ 1150 w 1192"/>
                    <a:gd name="T35" fmla="*/ 13 h 1707"/>
                    <a:gd name="T36" fmla="*/ 1181 w 1192"/>
                    <a:gd name="T37" fmla="*/ 42 h 1707"/>
                    <a:gd name="T38" fmla="*/ 1192 w 1192"/>
                    <a:gd name="T39" fmla="*/ 86 h 1707"/>
                    <a:gd name="T40" fmla="*/ 1190 w 1192"/>
                    <a:gd name="T41" fmla="*/ 1645 h 1707"/>
                    <a:gd name="T42" fmla="*/ 1167 w 1192"/>
                    <a:gd name="T43" fmla="*/ 1682 h 1707"/>
                    <a:gd name="T44" fmla="*/ 1130 w 1192"/>
                    <a:gd name="T45" fmla="*/ 1705 h 1707"/>
                    <a:gd name="T46" fmla="*/ 595 w 1192"/>
                    <a:gd name="T47" fmla="*/ 1707 h 1707"/>
                    <a:gd name="T48" fmla="*/ 552 w 1192"/>
                    <a:gd name="T49" fmla="*/ 1696 h 1707"/>
                    <a:gd name="T50" fmla="*/ 522 w 1192"/>
                    <a:gd name="T51" fmla="*/ 1665 h 1707"/>
                    <a:gd name="T52" fmla="*/ 503 w 1192"/>
                    <a:gd name="T53" fmla="*/ 1614 h 1707"/>
                    <a:gd name="T54" fmla="*/ 478 w 1192"/>
                    <a:gd name="T55" fmla="*/ 1533 h 1707"/>
                    <a:gd name="T56" fmla="*/ 446 w 1192"/>
                    <a:gd name="T57" fmla="*/ 1433 h 1707"/>
                    <a:gd name="T58" fmla="*/ 408 w 1192"/>
                    <a:gd name="T59" fmla="*/ 1316 h 1707"/>
                    <a:gd name="T60" fmla="*/ 363 w 1192"/>
                    <a:gd name="T61" fmla="*/ 1188 h 1707"/>
                    <a:gd name="T62" fmla="*/ 316 w 1192"/>
                    <a:gd name="T63" fmla="*/ 1053 h 1707"/>
                    <a:gd name="T64" fmla="*/ 266 w 1192"/>
                    <a:gd name="T65" fmla="*/ 916 h 1707"/>
                    <a:gd name="T66" fmla="*/ 216 w 1192"/>
                    <a:gd name="T67" fmla="*/ 781 h 1707"/>
                    <a:gd name="T68" fmla="*/ 168 w 1192"/>
                    <a:gd name="T69" fmla="*/ 653 h 1707"/>
                    <a:gd name="T70" fmla="*/ 121 w 1192"/>
                    <a:gd name="T71" fmla="*/ 536 h 1707"/>
                    <a:gd name="T72" fmla="*/ 79 w 1192"/>
                    <a:gd name="T73" fmla="*/ 436 h 1707"/>
                    <a:gd name="T74" fmla="*/ 43 w 1192"/>
                    <a:gd name="T75" fmla="*/ 356 h 1707"/>
                    <a:gd name="T76" fmla="*/ 13 w 1192"/>
                    <a:gd name="T77" fmla="*/ 302 h 1707"/>
                    <a:gd name="T78" fmla="*/ 0 w 1192"/>
                    <a:gd name="T79" fmla="*/ 256 h 1707"/>
                    <a:gd name="T80" fmla="*/ 14 w 1192"/>
                    <a:gd name="T81" fmla="*/ 210 h 1707"/>
                    <a:gd name="T82" fmla="*/ 49 w 1192"/>
                    <a:gd name="T83" fmla="*/ 179 h 1707"/>
                    <a:gd name="T84" fmla="*/ 67 w 1192"/>
                    <a:gd name="T85" fmla="*/ 171 h 1707"/>
                    <a:gd name="T86" fmla="*/ 112 w 1192"/>
                    <a:gd name="T87" fmla="*/ 154 h 1707"/>
                    <a:gd name="T88" fmla="*/ 182 w 1192"/>
                    <a:gd name="T89" fmla="*/ 129 h 1707"/>
                    <a:gd name="T90" fmla="*/ 276 w 1192"/>
                    <a:gd name="T91" fmla="*/ 102 h 1707"/>
                    <a:gd name="T92" fmla="*/ 395 w 1192"/>
                    <a:gd name="T93" fmla="*/ 72 h 1707"/>
                    <a:gd name="T94" fmla="*/ 538 w 1192"/>
                    <a:gd name="T95" fmla="*/ 45 h 1707"/>
                    <a:gd name="T96" fmla="*/ 704 w 1192"/>
                    <a:gd name="T97" fmla="*/ 22 h 1707"/>
                    <a:gd name="T98" fmla="*/ 894 w 1192"/>
                    <a:gd name="T99" fmla="*/ 6 h 1707"/>
                    <a:gd name="T100" fmla="*/ 1106 w 1192"/>
                    <a:gd name="T101" fmla="*/ 0 h 170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1192" h="1707">
                      <a:moveTo>
                        <a:pt x="1022" y="173"/>
                      </a:moveTo>
                      <a:lnTo>
                        <a:pt x="914" y="176"/>
                      </a:lnTo>
                      <a:lnTo>
                        <a:pt x="812" y="184"/>
                      </a:lnTo>
                      <a:lnTo>
                        <a:pt x="718" y="193"/>
                      </a:lnTo>
                      <a:lnTo>
                        <a:pt x="630" y="204"/>
                      </a:lnTo>
                      <a:lnTo>
                        <a:pt x="548" y="217"/>
                      </a:lnTo>
                      <a:lnTo>
                        <a:pt x="473" y="231"/>
                      </a:lnTo>
                      <a:lnTo>
                        <a:pt x="405" y="246"/>
                      </a:lnTo>
                      <a:lnTo>
                        <a:pt x="344" y="261"/>
                      </a:lnTo>
                      <a:lnTo>
                        <a:pt x="291" y="276"/>
                      </a:lnTo>
                      <a:lnTo>
                        <a:pt x="245" y="289"/>
                      </a:lnTo>
                      <a:lnTo>
                        <a:pt x="205" y="302"/>
                      </a:lnTo>
                      <a:lnTo>
                        <a:pt x="228" y="350"/>
                      </a:lnTo>
                      <a:lnTo>
                        <a:pt x="251" y="404"/>
                      </a:lnTo>
                      <a:lnTo>
                        <a:pt x="276" y="463"/>
                      </a:lnTo>
                      <a:lnTo>
                        <a:pt x="301" y="528"/>
                      </a:lnTo>
                      <a:lnTo>
                        <a:pt x="328" y="595"/>
                      </a:lnTo>
                      <a:lnTo>
                        <a:pt x="355" y="666"/>
                      </a:lnTo>
                      <a:lnTo>
                        <a:pt x="383" y="739"/>
                      </a:lnTo>
                      <a:lnTo>
                        <a:pt x="410" y="813"/>
                      </a:lnTo>
                      <a:lnTo>
                        <a:pt x="437" y="889"/>
                      </a:lnTo>
                      <a:lnTo>
                        <a:pt x="465" y="965"/>
                      </a:lnTo>
                      <a:lnTo>
                        <a:pt x="492" y="1040"/>
                      </a:lnTo>
                      <a:lnTo>
                        <a:pt x="518" y="1114"/>
                      </a:lnTo>
                      <a:lnTo>
                        <a:pt x="543" y="1187"/>
                      </a:lnTo>
                      <a:lnTo>
                        <a:pt x="566" y="1255"/>
                      </a:lnTo>
                      <a:lnTo>
                        <a:pt x="589" y="1322"/>
                      </a:lnTo>
                      <a:lnTo>
                        <a:pt x="610" y="1383"/>
                      </a:lnTo>
                      <a:lnTo>
                        <a:pt x="628" y="1440"/>
                      </a:lnTo>
                      <a:lnTo>
                        <a:pt x="645" y="1491"/>
                      </a:lnTo>
                      <a:lnTo>
                        <a:pt x="658" y="1537"/>
                      </a:lnTo>
                      <a:lnTo>
                        <a:pt x="1022" y="1537"/>
                      </a:lnTo>
                      <a:lnTo>
                        <a:pt x="1022" y="173"/>
                      </a:lnTo>
                      <a:close/>
                      <a:moveTo>
                        <a:pt x="1106" y="0"/>
                      </a:moveTo>
                      <a:lnTo>
                        <a:pt x="1130" y="4"/>
                      </a:lnTo>
                      <a:lnTo>
                        <a:pt x="1150" y="13"/>
                      </a:lnTo>
                      <a:lnTo>
                        <a:pt x="1167" y="25"/>
                      </a:lnTo>
                      <a:lnTo>
                        <a:pt x="1181" y="42"/>
                      </a:lnTo>
                      <a:lnTo>
                        <a:pt x="1190" y="63"/>
                      </a:lnTo>
                      <a:lnTo>
                        <a:pt x="1192" y="86"/>
                      </a:lnTo>
                      <a:lnTo>
                        <a:pt x="1192" y="1622"/>
                      </a:lnTo>
                      <a:lnTo>
                        <a:pt x="1190" y="1645"/>
                      </a:lnTo>
                      <a:lnTo>
                        <a:pt x="1181" y="1665"/>
                      </a:lnTo>
                      <a:lnTo>
                        <a:pt x="1167" y="1682"/>
                      </a:lnTo>
                      <a:lnTo>
                        <a:pt x="1150" y="1696"/>
                      </a:lnTo>
                      <a:lnTo>
                        <a:pt x="1130" y="1705"/>
                      </a:lnTo>
                      <a:lnTo>
                        <a:pt x="1106" y="1707"/>
                      </a:lnTo>
                      <a:lnTo>
                        <a:pt x="595" y="1707"/>
                      </a:lnTo>
                      <a:lnTo>
                        <a:pt x="573" y="1705"/>
                      </a:lnTo>
                      <a:lnTo>
                        <a:pt x="552" y="1696"/>
                      </a:lnTo>
                      <a:lnTo>
                        <a:pt x="534" y="1682"/>
                      </a:lnTo>
                      <a:lnTo>
                        <a:pt x="522" y="1665"/>
                      </a:lnTo>
                      <a:lnTo>
                        <a:pt x="512" y="1645"/>
                      </a:lnTo>
                      <a:lnTo>
                        <a:pt x="503" y="1614"/>
                      </a:lnTo>
                      <a:lnTo>
                        <a:pt x="492" y="1577"/>
                      </a:lnTo>
                      <a:lnTo>
                        <a:pt x="478" y="1533"/>
                      </a:lnTo>
                      <a:lnTo>
                        <a:pt x="463" y="1486"/>
                      </a:lnTo>
                      <a:lnTo>
                        <a:pt x="446" y="1433"/>
                      </a:lnTo>
                      <a:lnTo>
                        <a:pt x="427" y="1377"/>
                      </a:lnTo>
                      <a:lnTo>
                        <a:pt x="408" y="1316"/>
                      </a:lnTo>
                      <a:lnTo>
                        <a:pt x="385" y="1254"/>
                      </a:lnTo>
                      <a:lnTo>
                        <a:pt x="363" y="1188"/>
                      </a:lnTo>
                      <a:lnTo>
                        <a:pt x="339" y="1121"/>
                      </a:lnTo>
                      <a:lnTo>
                        <a:pt x="316" y="1053"/>
                      </a:lnTo>
                      <a:lnTo>
                        <a:pt x="291" y="985"/>
                      </a:lnTo>
                      <a:lnTo>
                        <a:pt x="266" y="916"/>
                      </a:lnTo>
                      <a:lnTo>
                        <a:pt x="241" y="848"/>
                      </a:lnTo>
                      <a:lnTo>
                        <a:pt x="216" y="781"/>
                      </a:lnTo>
                      <a:lnTo>
                        <a:pt x="192" y="716"/>
                      </a:lnTo>
                      <a:lnTo>
                        <a:pt x="168" y="653"/>
                      </a:lnTo>
                      <a:lnTo>
                        <a:pt x="144" y="594"/>
                      </a:lnTo>
                      <a:lnTo>
                        <a:pt x="121" y="536"/>
                      </a:lnTo>
                      <a:lnTo>
                        <a:pt x="100" y="484"/>
                      </a:lnTo>
                      <a:lnTo>
                        <a:pt x="79" y="436"/>
                      </a:lnTo>
                      <a:lnTo>
                        <a:pt x="60" y="394"/>
                      </a:lnTo>
                      <a:lnTo>
                        <a:pt x="43" y="356"/>
                      </a:lnTo>
                      <a:lnTo>
                        <a:pt x="27" y="325"/>
                      </a:lnTo>
                      <a:lnTo>
                        <a:pt x="13" y="302"/>
                      </a:lnTo>
                      <a:lnTo>
                        <a:pt x="4" y="279"/>
                      </a:lnTo>
                      <a:lnTo>
                        <a:pt x="0" y="256"/>
                      </a:lnTo>
                      <a:lnTo>
                        <a:pt x="4" y="232"/>
                      </a:lnTo>
                      <a:lnTo>
                        <a:pt x="14" y="210"/>
                      </a:lnTo>
                      <a:lnTo>
                        <a:pt x="29" y="193"/>
                      </a:lnTo>
                      <a:lnTo>
                        <a:pt x="49" y="179"/>
                      </a:lnTo>
                      <a:lnTo>
                        <a:pt x="55" y="176"/>
                      </a:lnTo>
                      <a:lnTo>
                        <a:pt x="67" y="171"/>
                      </a:lnTo>
                      <a:lnTo>
                        <a:pt x="86" y="164"/>
                      </a:lnTo>
                      <a:lnTo>
                        <a:pt x="112" y="154"/>
                      </a:lnTo>
                      <a:lnTo>
                        <a:pt x="143" y="143"/>
                      </a:lnTo>
                      <a:lnTo>
                        <a:pt x="182" y="129"/>
                      </a:lnTo>
                      <a:lnTo>
                        <a:pt x="225" y="116"/>
                      </a:lnTo>
                      <a:lnTo>
                        <a:pt x="276" y="102"/>
                      </a:lnTo>
                      <a:lnTo>
                        <a:pt x="333" y="87"/>
                      </a:lnTo>
                      <a:lnTo>
                        <a:pt x="395" y="72"/>
                      </a:lnTo>
                      <a:lnTo>
                        <a:pt x="463" y="58"/>
                      </a:lnTo>
                      <a:lnTo>
                        <a:pt x="538" y="45"/>
                      </a:lnTo>
                      <a:lnTo>
                        <a:pt x="619" y="32"/>
                      </a:lnTo>
                      <a:lnTo>
                        <a:pt x="704" y="22"/>
                      </a:lnTo>
                      <a:lnTo>
                        <a:pt x="797" y="14"/>
                      </a:lnTo>
                      <a:lnTo>
                        <a:pt x="894" y="6"/>
                      </a:lnTo>
                      <a:lnTo>
                        <a:pt x="998" y="1"/>
                      </a:lnTo>
                      <a:lnTo>
                        <a:pt x="1106" y="0"/>
                      </a:lnTo>
                      <a:close/>
                    </a:path>
                  </a:pathLst>
                </a:custGeom>
                <a:grpFill/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</p:grpSp>
        </p:grpSp>
        <p:grpSp>
          <p:nvGrpSpPr>
            <p:cNvPr id="118" name="Группа 1"/>
            <p:cNvGrpSpPr/>
            <p:nvPr/>
          </p:nvGrpSpPr>
          <p:grpSpPr>
            <a:xfrm>
              <a:off x="2213298" y="1653626"/>
              <a:ext cx="558367" cy="481675"/>
              <a:chOff x="1925916" y="2384226"/>
              <a:chExt cx="683590" cy="589699"/>
            </a:xfrm>
          </p:grpSpPr>
          <p:grpSp>
            <p:nvGrpSpPr>
              <p:cNvPr id="144" name="Группа 166"/>
              <p:cNvGrpSpPr/>
              <p:nvPr/>
            </p:nvGrpSpPr>
            <p:grpSpPr>
              <a:xfrm>
                <a:off x="1925916" y="2384226"/>
                <a:ext cx="683590" cy="589699"/>
                <a:chOff x="1149841" y="3236936"/>
                <a:chExt cx="1220805" cy="1053126"/>
              </a:xfrm>
            </p:grpSpPr>
            <p:sp>
              <p:nvSpPr>
                <p:cNvPr id="148" name="TextBox 147"/>
                <p:cNvSpPr txBox="1"/>
                <p:nvPr/>
              </p:nvSpPr>
              <p:spPr>
                <a:xfrm>
                  <a:off x="1149841" y="3236936"/>
                  <a:ext cx="946857" cy="853295"/>
                </a:xfrm>
                <a:prstGeom prst="hexagon">
                  <a:avLst/>
                </a:prstGeom>
                <a:ln w="17999">
                  <a:solidFill>
                    <a:schemeClr val="accent1">
                      <a:lumMod val="60000"/>
                      <a:lumOff val="40000"/>
                    </a:schemeClr>
                  </a:solidFill>
                  <a:prstDash val="dash"/>
                </a:ln>
              </p:spPr>
              <p:txBody>
                <a:bodyPr wrap="square" lIns="0" tIns="0" rIns="0" bIns="0" rtlCol="0"/>
                <a:lstStyle>
                  <a:defPPr>
                    <a:defRPr lang="ru-RU"/>
                  </a:defPPr>
                </a:lstStyle>
                <a:p>
                  <a:endParaRPr lang="en-US" sz="1400" dirty="0"/>
                </a:p>
              </p:txBody>
            </p:sp>
            <p:sp>
              <p:nvSpPr>
                <p:cNvPr id="149" name="TextBox 148"/>
                <p:cNvSpPr txBox="1"/>
                <p:nvPr/>
              </p:nvSpPr>
              <p:spPr>
                <a:xfrm>
                  <a:off x="1339173" y="3360514"/>
                  <a:ext cx="1031473" cy="929548"/>
                </a:xfrm>
                <a:prstGeom prst="hexagon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</p:spPr>
              <p:txBody>
                <a:bodyPr wrap="square" lIns="0" tIns="0" rIns="0" bIns="0" rtlCol="0"/>
                <a:lstStyle>
                  <a:defPPr>
                    <a:defRPr lang="ru-RU"/>
                  </a:defPPr>
                </a:lstStyle>
                <a:p>
                  <a:endParaRPr lang="en-US" sz="1400" dirty="0"/>
                </a:p>
              </p:txBody>
            </p:sp>
          </p:grpSp>
          <p:grpSp>
            <p:nvGrpSpPr>
              <p:cNvPr id="145" name="Group 5"/>
              <p:cNvGrpSpPr>
                <a:grpSpLocks noChangeAspect="1"/>
              </p:cNvGrpSpPr>
              <p:nvPr/>
            </p:nvGrpSpPr>
            <p:grpSpPr bwMode="auto">
              <a:xfrm>
                <a:off x="2283976" y="2515413"/>
                <a:ext cx="314526" cy="314526"/>
                <a:chOff x="5554" y="-2214"/>
                <a:chExt cx="1026" cy="1026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46" name="Freeform 7"/>
                <p:cNvSpPr>
                  <a:spLocks noEditPoints="1"/>
                </p:cNvSpPr>
                <p:nvPr/>
              </p:nvSpPr>
              <p:spPr bwMode="auto">
                <a:xfrm>
                  <a:off x="5623" y="-2146"/>
                  <a:ext cx="718" cy="719"/>
                </a:xfrm>
                <a:custGeom>
                  <a:avLst/>
                  <a:gdLst>
                    <a:gd name="T0" fmla="*/ 1246 w 2874"/>
                    <a:gd name="T1" fmla="*/ 1856 h 2875"/>
                    <a:gd name="T2" fmla="*/ 1283 w 2874"/>
                    <a:gd name="T3" fmla="*/ 2023 h 2875"/>
                    <a:gd name="T4" fmla="*/ 1454 w 2874"/>
                    <a:gd name="T5" fmla="*/ 2023 h 2875"/>
                    <a:gd name="T6" fmla="*/ 1491 w 2874"/>
                    <a:gd name="T7" fmla="*/ 1856 h 2875"/>
                    <a:gd name="T8" fmla="*/ 685 w 2874"/>
                    <a:gd name="T9" fmla="*/ 1096 h 2875"/>
                    <a:gd name="T10" fmla="*/ 551 w 2874"/>
                    <a:gd name="T11" fmla="*/ 1201 h 2875"/>
                    <a:gd name="T12" fmla="*/ 624 w 2874"/>
                    <a:gd name="T13" fmla="*/ 1355 h 2875"/>
                    <a:gd name="T14" fmla="*/ 791 w 2874"/>
                    <a:gd name="T15" fmla="*/ 1318 h 2875"/>
                    <a:gd name="T16" fmla="*/ 791 w 2874"/>
                    <a:gd name="T17" fmla="*/ 1147 h 2875"/>
                    <a:gd name="T18" fmla="*/ 2158 w 2874"/>
                    <a:gd name="T19" fmla="*/ 963 h 2875"/>
                    <a:gd name="T20" fmla="*/ 2052 w 2874"/>
                    <a:gd name="T21" fmla="*/ 1096 h 2875"/>
                    <a:gd name="T22" fmla="*/ 2158 w 2874"/>
                    <a:gd name="T23" fmla="*/ 1228 h 2875"/>
                    <a:gd name="T24" fmla="*/ 2313 w 2874"/>
                    <a:gd name="T25" fmla="*/ 1156 h 2875"/>
                    <a:gd name="T26" fmla="*/ 2275 w 2874"/>
                    <a:gd name="T27" fmla="*/ 989 h 2875"/>
                    <a:gd name="T28" fmla="*/ 2441 w 2874"/>
                    <a:gd name="T29" fmla="*/ 990 h 2875"/>
                    <a:gd name="T30" fmla="*/ 2432 w 2874"/>
                    <a:gd name="T31" fmla="*/ 1222 h 2875"/>
                    <a:gd name="T32" fmla="*/ 2234 w 2874"/>
                    <a:gd name="T33" fmla="*/ 1365 h 2875"/>
                    <a:gd name="T34" fmla="*/ 1603 w 2874"/>
                    <a:gd name="T35" fmla="*/ 1778 h 2875"/>
                    <a:gd name="T36" fmla="*/ 1628 w 2874"/>
                    <a:gd name="T37" fmla="*/ 2003 h 2875"/>
                    <a:gd name="T38" fmla="*/ 1455 w 2874"/>
                    <a:gd name="T39" fmla="*/ 2177 h 2875"/>
                    <a:gd name="T40" fmla="*/ 1207 w 2874"/>
                    <a:gd name="T41" fmla="*/ 2137 h 2875"/>
                    <a:gd name="T42" fmla="*/ 1095 w 2874"/>
                    <a:gd name="T43" fmla="*/ 1916 h 2875"/>
                    <a:gd name="T44" fmla="*/ 791 w 2874"/>
                    <a:gd name="T45" fmla="*/ 1484 h 2875"/>
                    <a:gd name="T46" fmla="*/ 568 w 2874"/>
                    <a:gd name="T47" fmla="*/ 1480 h 2875"/>
                    <a:gd name="T48" fmla="*/ 421 w 2874"/>
                    <a:gd name="T49" fmla="*/ 1300 h 2875"/>
                    <a:gd name="T50" fmla="*/ 171 w 2874"/>
                    <a:gd name="T51" fmla="*/ 1737 h 2875"/>
                    <a:gd name="T52" fmla="*/ 423 w 2874"/>
                    <a:gd name="T53" fmla="*/ 2252 h 2875"/>
                    <a:gd name="T54" fmla="*/ 865 w 2874"/>
                    <a:gd name="T55" fmla="*/ 2606 h 2875"/>
                    <a:gd name="T56" fmla="*/ 1436 w 2874"/>
                    <a:gd name="T57" fmla="*/ 2738 h 2875"/>
                    <a:gd name="T58" fmla="*/ 1985 w 2874"/>
                    <a:gd name="T59" fmla="*/ 2617 h 2875"/>
                    <a:gd name="T60" fmla="*/ 2419 w 2874"/>
                    <a:gd name="T61" fmla="*/ 2290 h 2875"/>
                    <a:gd name="T62" fmla="*/ 2674 w 2874"/>
                    <a:gd name="T63" fmla="*/ 1838 h 2875"/>
                    <a:gd name="T64" fmla="*/ 2731 w 2874"/>
                    <a:gd name="T65" fmla="*/ 1322 h 2875"/>
                    <a:gd name="T66" fmla="*/ 2573 w 2874"/>
                    <a:gd name="T67" fmla="*/ 808 h 2875"/>
                    <a:gd name="T68" fmla="*/ 976 w 2874"/>
                    <a:gd name="T69" fmla="*/ 222 h 2875"/>
                    <a:gd name="T70" fmla="*/ 519 w 2874"/>
                    <a:gd name="T71" fmla="*/ 519 h 2875"/>
                    <a:gd name="T72" fmla="*/ 220 w 2874"/>
                    <a:gd name="T73" fmla="*/ 981 h 2875"/>
                    <a:gd name="T74" fmla="*/ 475 w 2874"/>
                    <a:gd name="T75" fmla="*/ 1057 h 2875"/>
                    <a:gd name="T76" fmla="*/ 685 w 2874"/>
                    <a:gd name="T77" fmla="*/ 959 h 2875"/>
                    <a:gd name="T78" fmla="*/ 905 w 2874"/>
                    <a:gd name="T79" fmla="*/ 1071 h 2875"/>
                    <a:gd name="T80" fmla="*/ 948 w 2874"/>
                    <a:gd name="T81" fmla="*/ 1304 h 2875"/>
                    <a:gd name="T82" fmla="*/ 1348 w 2874"/>
                    <a:gd name="T83" fmla="*/ 1643 h 2875"/>
                    <a:gd name="T84" fmla="*/ 1937 w 2874"/>
                    <a:gd name="T85" fmla="*/ 1201 h 2875"/>
                    <a:gd name="T86" fmla="*/ 1946 w 2874"/>
                    <a:gd name="T87" fmla="*/ 970 h 2875"/>
                    <a:gd name="T88" fmla="*/ 2146 w 2874"/>
                    <a:gd name="T89" fmla="*/ 826 h 2875"/>
                    <a:gd name="T90" fmla="*/ 2498 w 2874"/>
                    <a:gd name="T91" fmla="*/ 690 h 2875"/>
                    <a:gd name="T92" fmla="*/ 2112 w 2874"/>
                    <a:gd name="T93" fmla="*/ 327 h 2875"/>
                    <a:gd name="T94" fmla="*/ 1616 w 2874"/>
                    <a:gd name="T95" fmla="*/ 150 h 2875"/>
                    <a:gd name="T96" fmla="*/ 1752 w 2874"/>
                    <a:gd name="T97" fmla="*/ 35 h 2875"/>
                    <a:gd name="T98" fmla="*/ 2301 w 2874"/>
                    <a:gd name="T99" fmla="*/ 291 h 2875"/>
                    <a:gd name="T100" fmla="*/ 2694 w 2874"/>
                    <a:gd name="T101" fmla="*/ 742 h 2875"/>
                    <a:gd name="T102" fmla="*/ 2870 w 2874"/>
                    <a:gd name="T103" fmla="*/ 1330 h 2875"/>
                    <a:gd name="T104" fmla="*/ 2780 w 2874"/>
                    <a:gd name="T105" fmla="*/ 1950 h 2875"/>
                    <a:gd name="T106" fmla="*/ 2452 w 2874"/>
                    <a:gd name="T107" fmla="*/ 2453 h 2875"/>
                    <a:gd name="T108" fmla="*/ 1949 w 2874"/>
                    <a:gd name="T109" fmla="*/ 2780 h 2875"/>
                    <a:gd name="T110" fmla="*/ 1329 w 2874"/>
                    <a:gd name="T111" fmla="*/ 2870 h 2875"/>
                    <a:gd name="T112" fmla="*/ 741 w 2874"/>
                    <a:gd name="T113" fmla="*/ 2695 h 2875"/>
                    <a:gd name="T114" fmla="*/ 290 w 2874"/>
                    <a:gd name="T115" fmla="*/ 2303 h 2875"/>
                    <a:gd name="T116" fmla="*/ 35 w 2874"/>
                    <a:gd name="T117" fmla="*/ 1753 h 2875"/>
                    <a:gd name="T118" fmla="*/ 35 w 2874"/>
                    <a:gd name="T119" fmla="*/ 1122 h 2875"/>
                    <a:gd name="T120" fmla="*/ 290 w 2874"/>
                    <a:gd name="T121" fmla="*/ 573 h 2875"/>
                    <a:gd name="T122" fmla="*/ 741 w 2874"/>
                    <a:gd name="T123" fmla="*/ 180 h 2875"/>
                    <a:gd name="T124" fmla="*/ 1329 w 2874"/>
                    <a:gd name="T125" fmla="*/ 5 h 28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2874" h="2875">
                      <a:moveTo>
                        <a:pt x="1369" y="1779"/>
                      </a:moveTo>
                      <a:lnTo>
                        <a:pt x="1337" y="1783"/>
                      </a:lnTo>
                      <a:lnTo>
                        <a:pt x="1308" y="1794"/>
                      </a:lnTo>
                      <a:lnTo>
                        <a:pt x="1283" y="1810"/>
                      </a:lnTo>
                      <a:lnTo>
                        <a:pt x="1262" y="1831"/>
                      </a:lnTo>
                      <a:lnTo>
                        <a:pt x="1246" y="1856"/>
                      </a:lnTo>
                      <a:lnTo>
                        <a:pt x="1236" y="1885"/>
                      </a:lnTo>
                      <a:lnTo>
                        <a:pt x="1232" y="1916"/>
                      </a:lnTo>
                      <a:lnTo>
                        <a:pt x="1236" y="1947"/>
                      </a:lnTo>
                      <a:lnTo>
                        <a:pt x="1246" y="1977"/>
                      </a:lnTo>
                      <a:lnTo>
                        <a:pt x="1262" y="2002"/>
                      </a:lnTo>
                      <a:lnTo>
                        <a:pt x="1283" y="2023"/>
                      </a:lnTo>
                      <a:lnTo>
                        <a:pt x="1308" y="2040"/>
                      </a:lnTo>
                      <a:lnTo>
                        <a:pt x="1337" y="2050"/>
                      </a:lnTo>
                      <a:lnTo>
                        <a:pt x="1369" y="2053"/>
                      </a:lnTo>
                      <a:lnTo>
                        <a:pt x="1400" y="2050"/>
                      </a:lnTo>
                      <a:lnTo>
                        <a:pt x="1429" y="2040"/>
                      </a:lnTo>
                      <a:lnTo>
                        <a:pt x="1454" y="2023"/>
                      </a:lnTo>
                      <a:lnTo>
                        <a:pt x="1475" y="2002"/>
                      </a:lnTo>
                      <a:lnTo>
                        <a:pt x="1491" y="1977"/>
                      </a:lnTo>
                      <a:lnTo>
                        <a:pt x="1501" y="1947"/>
                      </a:lnTo>
                      <a:lnTo>
                        <a:pt x="1505" y="1916"/>
                      </a:lnTo>
                      <a:lnTo>
                        <a:pt x="1501" y="1885"/>
                      </a:lnTo>
                      <a:lnTo>
                        <a:pt x="1491" y="1856"/>
                      </a:lnTo>
                      <a:lnTo>
                        <a:pt x="1475" y="1831"/>
                      </a:lnTo>
                      <a:lnTo>
                        <a:pt x="1454" y="1810"/>
                      </a:lnTo>
                      <a:lnTo>
                        <a:pt x="1429" y="1794"/>
                      </a:lnTo>
                      <a:lnTo>
                        <a:pt x="1400" y="1783"/>
                      </a:lnTo>
                      <a:lnTo>
                        <a:pt x="1369" y="1779"/>
                      </a:lnTo>
                      <a:close/>
                      <a:moveTo>
                        <a:pt x="685" y="1096"/>
                      </a:moveTo>
                      <a:lnTo>
                        <a:pt x="652" y="1100"/>
                      </a:lnTo>
                      <a:lnTo>
                        <a:pt x="624" y="1110"/>
                      </a:lnTo>
                      <a:lnTo>
                        <a:pt x="599" y="1126"/>
                      </a:lnTo>
                      <a:lnTo>
                        <a:pt x="578" y="1147"/>
                      </a:lnTo>
                      <a:lnTo>
                        <a:pt x="561" y="1172"/>
                      </a:lnTo>
                      <a:lnTo>
                        <a:pt x="551" y="1201"/>
                      </a:lnTo>
                      <a:lnTo>
                        <a:pt x="548" y="1232"/>
                      </a:lnTo>
                      <a:lnTo>
                        <a:pt x="551" y="1264"/>
                      </a:lnTo>
                      <a:lnTo>
                        <a:pt x="561" y="1293"/>
                      </a:lnTo>
                      <a:lnTo>
                        <a:pt x="578" y="1318"/>
                      </a:lnTo>
                      <a:lnTo>
                        <a:pt x="599" y="1339"/>
                      </a:lnTo>
                      <a:lnTo>
                        <a:pt x="624" y="1355"/>
                      </a:lnTo>
                      <a:lnTo>
                        <a:pt x="652" y="1365"/>
                      </a:lnTo>
                      <a:lnTo>
                        <a:pt x="685" y="1369"/>
                      </a:lnTo>
                      <a:lnTo>
                        <a:pt x="716" y="1365"/>
                      </a:lnTo>
                      <a:lnTo>
                        <a:pt x="745" y="1355"/>
                      </a:lnTo>
                      <a:lnTo>
                        <a:pt x="770" y="1339"/>
                      </a:lnTo>
                      <a:lnTo>
                        <a:pt x="791" y="1318"/>
                      </a:lnTo>
                      <a:lnTo>
                        <a:pt x="807" y="1293"/>
                      </a:lnTo>
                      <a:lnTo>
                        <a:pt x="818" y="1264"/>
                      </a:lnTo>
                      <a:lnTo>
                        <a:pt x="821" y="1232"/>
                      </a:lnTo>
                      <a:lnTo>
                        <a:pt x="818" y="1201"/>
                      </a:lnTo>
                      <a:lnTo>
                        <a:pt x="807" y="1172"/>
                      </a:lnTo>
                      <a:lnTo>
                        <a:pt x="791" y="1147"/>
                      </a:lnTo>
                      <a:lnTo>
                        <a:pt x="770" y="1126"/>
                      </a:lnTo>
                      <a:lnTo>
                        <a:pt x="745" y="1110"/>
                      </a:lnTo>
                      <a:lnTo>
                        <a:pt x="716" y="1100"/>
                      </a:lnTo>
                      <a:lnTo>
                        <a:pt x="685" y="1096"/>
                      </a:lnTo>
                      <a:close/>
                      <a:moveTo>
                        <a:pt x="2189" y="959"/>
                      </a:moveTo>
                      <a:lnTo>
                        <a:pt x="2158" y="963"/>
                      </a:lnTo>
                      <a:lnTo>
                        <a:pt x="2129" y="973"/>
                      </a:lnTo>
                      <a:lnTo>
                        <a:pt x="2103" y="989"/>
                      </a:lnTo>
                      <a:lnTo>
                        <a:pt x="2082" y="1010"/>
                      </a:lnTo>
                      <a:lnTo>
                        <a:pt x="2067" y="1035"/>
                      </a:lnTo>
                      <a:lnTo>
                        <a:pt x="2056" y="1064"/>
                      </a:lnTo>
                      <a:lnTo>
                        <a:pt x="2052" y="1096"/>
                      </a:lnTo>
                      <a:lnTo>
                        <a:pt x="2056" y="1127"/>
                      </a:lnTo>
                      <a:lnTo>
                        <a:pt x="2067" y="1156"/>
                      </a:lnTo>
                      <a:lnTo>
                        <a:pt x="2082" y="1181"/>
                      </a:lnTo>
                      <a:lnTo>
                        <a:pt x="2103" y="1202"/>
                      </a:lnTo>
                      <a:lnTo>
                        <a:pt x="2129" y="1218"/>
                      </a:lnTo>
                      <a:lnTo>
                        <a:pt x="2158" y="1228"/>
                      </a:lnTo>
                      <a:lnTo>
                        <a:pt x="2189" y="1232"/>
                      </a:lnTo>
                      <a:lnTo>
                        <a:pt x="2220" y="1228"/>
                      </a:lnTo>
                      <a:lnTo>
                        <a:pt x="2249" y="1218"/>
                      </a:lnTo>
                      <a:lnTo>
                        <a:pt x="2275" y="1202"/>
                      </a:lnTo>
                      <a:lnTo>
                        <a:pt x="2296" y="1181"/>
                      </a:lnTo>
                      <a:lnTo>
                        <a:pt x="2313" y="1156"/>
                      </a:lnTo>
                      <a:lnTo>
                        <a:pt x="2323" y="1127"/>
                      </a:lnTo>
                      <a:lnTo>
                        <a:pt x="2326" y="1096"/>
                      </a:lnTo>
                      <a:lnTo>
                        <a:pt x="2323" y="1064"/>
                      </a:lnTo>
                      <a:lnTo>
                        <a:pt x="2313" y="1035"/>
                      </a:lnTo>
                      <a:lnTo>
                        <a:pt x="2296" y="1010"/>
                      </a:lnTo>
                      <a:lnTo>
                        <a:pt x="2275" y="989"/>
                      </a:lnTo>
                      <a:lnTo>
                        <a:pt x="2249" y="973"/>
                      </a:lnTo>
                      <a:lnTo>
                        <a:pt x="2220" y="963"/>
                      </a:lnTo>
                      <a:lnTo>
                        <a:pt x="2189" y="959"/>
                      </a:lnTo>
                      <a:close/>
                      <a:moveTo>
                        <a:pt x="2573" y="808"/>
                      </a:moveTo>
                      <a:lnTo>
                        <a:pt x="2425" y="958"/>
                      </a:lnTo>
                      <a:lnTo>
                        <a:pt x="2441" y="990"/>
                      </a:lnTo>
                      <a:lnTo>
                        <a:pt x="2453" y="1024"/>
                      </a:lnTo>
                      <a:lnTo>
                        <a:pt x="2461" y="1060"/>
                      </a:lnTo>
                      <a:lnTo>
                        <a:pt x="2463" y="1096"/>
                      </a:lnTo>
                      <a:lnTo>
                        <a:pt x="2460" y="1140"/>
                      </a:lnTo>
                      <a:lnTo>
                        <a:pt x="2448" y="1182"/>
                      </a:lnTo>
                      <a:lnTo>
                        <a:pt x="2432" y="1222"/>
                      </a:lnTo>
                      <a:lnTo>
                        <a:pt x="2410" y="1257"/>
                      </a:lnTo>
                      <a:lnTo>
                        <a:pt x="2382" y="1289"/>
                      </a:lnTo>
                      <a:lnTo>
                        <a:pt x="2351" y="1317"/>
                      </a:lnTo>
                      <a:lnTo>
                        <a:pt x="2315" y="1339"/>
                      </a:lnTo>
                      <a:lnTo>
                        <a:pt x="2276" y="1355"/>
                      </a:lnTo>
                      <a:lnTo>
                        <a:pt x="2234" y="1365"/>
                      </a:lnTo>
                      <a:lnTo>
                        <a:pt x="2189" y="1369"/>
                      </a:lnTo>
                      <a:lnTo>
                        <a:pt x="2153" y="1367"/>
                      </a:lnTo>
                      <a:lnTo>
                        <a:pt x="2118" y="1359"/>
                      </a:lnTo>
                      <a:lnTo>
                        <a:pt x="2083" y="1347"/>
                      </a:lnTo>
                      <a:lnTo>
                        <a:pt x="2051" y="1330"/>
                      </a:lnTo>
                      <a:lnTo>
                        <a:pt x="1603" y="1778"/>
                      </a:lnTo>
                      <a:lnTo>
                        <a:pt x="1620" y="1810"/>
                      </a:lnTo>
                      <a:lnTo>
                        <a:pt x="1632" y="1845"/>
                      </a:lnTo>
                      <a:lnTo>
                        <a:pt x="1640" y="1880"/>
                      </a:lnTo>
                      <a:lnTo>
                        <a:pt x="1642" y="1916"/>
                      </a:lnTo>
                      <a:lnTo>
                        <a:pt x="1638" y="1961"/>
                      </a:lnTo>
                      <a:lnTo>
                        <a:pt x="1628" y="2003"/>
                      </a:lnTo>
                      <a:lnTo>
                        <a:pt x="1612" y="2042"/>
                      </a:lnTo>
                      <a:lnTo>
                        <a:pt x="1590" y="2078"/>
                      </a:lnTo>
                      <a:lnTo>
                        <a:pt x="1562" y="2109"/>
                      </a:lnTo>
                      <a:lnTo>
                        <a:pt x="1530" y="2137"/>
                      </a:lnTo>
                      <a:lnTo>
                        <a:pt x="1494" y="2159"/>
                      </a:lnTo>
                      <a:lnTo>
                        <a:pt x="1455" y="2177"/>
                      </a:lnTo>
                      <a:lnTo>
                        <a:pt x="1413" y="2187"/>
                      </a:lnTo>
                      <a:lnTo>
                        <a:pt x="1369" y="2190"/>
                      </a:lnTo>
                      <a:lnTo>
                        <a:pt x="1324" y="2187"/>
                      </a:lnTo>
                      <a:lnTo>
                        <a:pt x="1282" y="2177"/>
                      </a:lnTo>
                      <a:lnTo>
                        <a:pt x="1243" y="2159"/>
                      </a:lnTo>
                      <a:lnTo>
                        <a:pt x="1207" y="2137"/>
                      </a:lnTo>
                      <a:lnTo>
                        <a:pt x="1175" y="2109"/>
                      </a:lnTo>
                      <a:lnTo>
                        <a:pt x="1147" y="2078"/>
                      </a:lnTo>
                      <a:lnTo>
                        <a:pt x="1125" y="2042"/>
                      </a:lnTo>
                      <a:lnTo>
                        <a:pt x="1109" y="2003"/>
                      </a:lnTo>
                      <a:lnTo>
                        <a:pt x="1099" y="1961"/>
                      </a:lnTo>
                      <a:lnTo>
                        <a:pt x="1095" y="1916"/>
                      </a:lnTo>
                      <a:lnTo>
                        <a:pt x="1097" y="1880"/>
                      </a:lnTo>
                      <a:lnTo>
                        <a:pt x="1105" y="1845"/>
                      </a:lnTo>
                      <a:lnTo>
                        <a:pt x="1117" y="1810"/>
                      </a:lnTo>
                      <a:lnTo>
                        <a:pt x="1133" y="1778"/>
                      </a:lnTo>
                      <a:lnTo>
                        <a:pt x="822" y="1468"/>
                      </a:lnTo>
                      <a:lnTo>
                        <a:pt x="791" y="1484"/>
                      </a:lnTo>
                      <a:lnTo>
                        <a:pt x="756" y="1496"/>
                      </a:lnTo>
                      <a:lnTo>
                        <a:pt x="721" y="1504"/>
                      </a:lnTo>
                      <a:lnTo>
                        <a:pt x="685" y="1506"/>
                      </a:lnTo>
                      <a:lnTo>
                        <a:pt x="644" y="1502"/>
                      </a:lnTo>
                      <a:lnTo>
                        <a:pt x="605" y="1494"/>
                      </a:lnTo>
                      <a:lnTo>
                        <a:pt x="568" y="1480"/>
                      </a:lnTo>
                      <a:lnTo>
                        <a:pt x="533" y="1460"/>
                      </a:lnTo>
                      <a:lnTo>
                        <a:pt x="503" y="1436"/>
                      </a:lnTo>
                      <a:lnTo>
                        <a:pt x="475" y="1408"/>
                      </a:lnTo>
                      <a:lnTo>
                        <a:pt x="452" y="1375"/>
                      </a:lnTo>
                      <a:lnTo>
                        <a:pt x="433" y="1339"/>
                      </a:lnTo>
                      <a:lnTo>
                        <a:pt x="421" y="1300"/>
                      </a:lnTo>
                      <a:lnTo>
                        <a:pt x="144" y="1300"/>
                      </a:lnTo>
                      <a:lnTo>
                        <a:pt x="139" y="1370"/>
                      </a:lnTo>
                      <a:lnTo>
                        <a:pt x="138" y="1439"/>
                      </a:lnTo>
                      <a:lnTo>
                        <a:pt x="141" y="1541"/>
                      </a:lnTo>
                      <a:lnTo>
                        <a:pt x="153" y="1641"/>
                      </a:lnTo>
                      <a:lnTo>
                        <a:pt x="171" y="1737"/>
                      </a:lnTo>
                      <a:lnTo>
                        <a:pt x="197" y="1831"/>
                      </a:lnTo>
                      <a:lnTo>
                        <a:pt x="230" y="1922"/>
                      </a:lnTo>
                      <a:lnTo>
                        <a:pt x="270" y="2011"/>
                      </a:lnTo>
                      <a:lnTo>
                        <a:pt x="315" y="2094"/>
                      </a:lnTo>
                      <a:lnTo>
                        <a:pt x="366" y="2175"/>
                      </a:lnTo>
                      <a:lnTo>
                        <a:pt x="423" y="2252"/>
                      </a:lnTo>
                      <a:lnTo>
                        <a:pt x="485" y="2324"/>
                      </a:lnTo>
                      <a:lnTo>
                        <a:pt x="553" y="2391"/>
                      </a:lnTo>
                      <a:lnTo>
                        <a:pt x="624" y="2452"/>
                      </a:lnTo>
                      <a:lnTo>
                        <a:pt x="701" y="2510"/>
                      </a:lnTo>
                      <a:lnTo>
                        <a:pt x="781" y="2561"/>
                      </a:lnTo>
                      <a:lnTo>
                        <a:pt x="865" y="2606"/>
                      </a:lnTo>
                      <a:lnTo>
                        <a:pt x="954" y="2645"/>
                      </a:lnTo>
                      <a:lnTo>
                        <a:pt x="1045" y="2678"/>
                      </a:lnTo>
                      <a:lnTo>
                        <a:pt x="1138" y="2704"/>
                      </a:lnTo>
                      <a:lnTo>
                        <a:pt x="1236" y="2723"/>
                      </a:lnTo>
                      <a:lnTo>
                        <a:pt x="1335" y="2734"/>
                      </a:lnTo>
                      <a:lnTo>
                        <a:pt x="1436" y="2738"/>
                      </a:lnTo>
                      <a:lnTo>
                        <a:pt x="1531" y="2734"/>
                      </a:lnTo>
                      <a:lnTo>
                        <a:pt x="1625" y="2724"/>
                      </a:lnTo>
                      <a:lnTo>
                        <a:pt x="1717" y="2706"/>
                      </a:lnTo>
                      <a:lnTo>
                        <a:pt x="1808" y="2684"/>
                      </a:lnTo>
                      <a:lnTo>
                        <a:pt x="1898" y="2653"/>
                      </a:lnTo>
                      <a:lnTo>
                        <a:pt x="1985" y="2617"/>
                      </a:lnTo>
                      <a:lnTo>
                        <a:pt x="2068" y="2574"/>
                      </a:lnTo>
                      <a:lnTo>
                        <a:pt x="2148" y="2526"/>
                      </a:lnTo>
                      <a:lnTo>
                        <a:pt x="2223" y="2473"/>
                      </a:lnTo>
                      <a:lnTo>
                        <a:pt x="2293" y="2417"/>
                      </a:lnTo>
                      <a:lnTo>
                        <a:pt x="2359" y="2355"/>
                      </a:lnTo>
                      <a:lnTo>
                        <a:pt x="2419" y="2290"/>
                      </a:lnTo>
                      <a:lnTo>
                        <a:pt x="2475" y="2222"/>
                      </a:lnTo>
                      <a:lnTo>
                        <a:pt x="2525" y="2151"/>
                      </a:lnTo>
                      <a:lnTo>
                        <a:pt x="2569" y="2076"/>
                      </a:lnTo>
                      <a:lnTo>
                        <a:pt x="2611" y="1998"/>
                      </a:lnTo>
                      <a:lnTo>
                        <a:pt x="2644" y="1919"/>
                      </a:lnTo>
                      <a:lnTo>
                        <a:pt x="2674" y="1838"/>
                      </a:lnTo>
                      <a:lnTo>
                        <a:pt x="2698" y="1754"/>
                      </a:lnTo>
                      <a:lnTo>
                        <a:pt x="2716" y="1669"/>
                      </a:lnTo>
                      <a:lnTo>
                        <a:pt x="2729" y="1583"/>
                      </a:lnTo>
                      <a:lnTo>
                        <a:pt x="2735" y="1496"/>
                      </a:lnTo>
                      <a:lnTo>
                        <a:pt x="2736" y="1409"/>
                      </a:lnTo>
                      <a:lnTo>
                        <a:pt x="2731" y="1322"/>
                      </a:lnTo>
                      <a:lnTo>
                        <a:pt x="2720" y="1234"/>
                      </a:lnTo>
                      <a:lnTo>
                        <a:pt x="2704" y="1147"/>
                      </a:lnTo>
                      <a:lnTo>
                        <a:pt x="2680" y="1061"/>
                      </a:lnTo>
                      <a:lnTo>
                        <a:pt x="2652" y="975"/>
                      </a:lnTo>
                      <a:lnTo>
                        <a:pt x="2615" y="892"/>
                      </a:lnTo>
                      <a:lnTo>
                        <a:pt x="2573" y="808"/>
                      </a:lnTo>
                      <a:close/>
                      <a:moveTo>
                        <a:pt x="1436" y="138"/>
                      </a:moveTo>
                      <a:lnTo>
                        <a:pt x="1340" y="141"/>
                      </a:lnTo>
                      <a:lnTo>
                        <a:pt x="1247" y="153"/>
                      </a:lnTo>
                      <a:lnTo>
                        <a:pt x="1155" y="169"/>
                      </a:lnTo>
                      <a:lnTo>
                        <a:pt x="1065" y="192"/>
                      </a:lnTo>
                      <a:lnTo>
                        <a:pt x="976" y="222"/>
                      </a:lnTo>
                      <a:lnTo>
                        <a:pt x="892" y="258"/>
                      </a:lnTo>
                      <a:lnTo>
                        <a:pt x="811" y="300"/>
                      </a:lnTo>
                      <a:lnTo>
                        <a:pt x="732" y="347"/>
                      </a:lnTo>
                      <a:lnTo>
                        <a:pt x="657" y="399"/>
                      </a:lnTo>
                      <a:lnTo>
                        <a:pt x="586" y="457"/>
                      </a:lnTo>
                      <a:lnTo>
                        <a:pt x="519" y="519"/>
                      </a:lnTo>
                      <a:lnTo>
                        <a:pt x="457" y="585"/>
                      </a:lnTo>
                      <a:lnTo>
                        <a:pt x="399" y="656"/>
                      </a:lnTo>
                      <a:lnTo>
                        <a:pt x="346" y="732"/>
                      </a:lnTo>
                      <a:lnTo>
                        <a:pt x="298" y="812"/>
                      </a:lnTo>
                      <a:lnTo>
                        <a:pt x="256" y="894"/>
                      </a:lnTo>
                      <a:lnTo>
                        <a:pt x="220" y="981"/>
                      </a:lnTo>
                      <a:lnTo>
                        <a:pt x="190" y="1071"/>
                      </a:lnTo>
                      <a:lnTo>
                        <a:pt x="166" y="1163"/>
                      </a:lnTo>
                      <a:lnTo>
                        <a:pt x="421" y="1163"/>
                      </a:lnTo>
                      <a:lnTo>
                        <a:pt x="433" y="1125"/>
                      </a:lnTo>
                      <a:lnTo>
                        <a:pt x="452" y="1090"/>
                      </a:lnTo>
                      <a:lnTo>
                        <a:pt x="475" y="1057"/>
                      </a:lnTo>
                      <a:lnTo>
                        <a:pt x="503" y="1029"/>
                      </a:lnTo>
                      <a:lnTo>
                        <a:pt x="534" y="1005"/>
                      </a:lnTo>
                      <a:lnTo>
                        <a:pt x="568" y="985"/>
                      </a:lnTo>
                      <a:lnTo>
                        <a:pt x="605" y="971"/>
                      </a:lnTo>
                      <a:lnTo>
                        <a:pt x="645" y="961"/>
                      </a:lnTo>
                      <a:lnTo>
                        <a:pt x="685" y="959"/>
                      </a:lnTo>
                      <a:lnTo>
                        <a:pt x="730" y="963"/>
                      </a:lnTo>
                      <a:lnTo>
                        <a:pt x="772" y="973"/>
                      </a:lnTo>
                      <a:lnTo>
                        <a:pt x="811" y="990"/>
                      </a:lnTo>
                      <a:lnTo>
                        <a:pt x="847" y="1011"/>
                      </a:lnTo>
                      <a:lnTo>
                        <a:pt x="878" y="1039"/>
                      </a:lnTo>
                      <a:lnTo>
                        <a:pt x="905" y="1071"/>
                      </a:lnTo>
                      <a:lnTo>
                        <a:pt x="928" y="1107"/>
                      </a:lnTo>
                      <a:lnTo>
                        <a:pt x="944" y="1146"/>
                      </a:lnTo>
                      <a:lnTo>
                        <a:pt x="954" y="1188"/>
                      </a:lnTo>
                      <a:lnTo>
                        <a:pt x="958" y="1232"/>
                      </a:lnTo>
                      <a:lnTo>
                        <a:pt x="955" y="1268"/>
                      </a:lnTo>
                      <a:lnTo>
                        <a:pt x="948" y="1304"/>
                      </a:lnTo>
                      <a:lnTo>
                        <a:pt x="935" y="1338"/>
                      </a:lnTo>
                      <a:lnTo>
                        <a:pt x="919" y="1370"/>
                      </a:lnTo>
                      <a:lnTo>
                        <a:pt x="1231" y="1682"/>
                      </a:lnTo>
                      <a:lnTo>
                        <a:pt x="1268" y="1663"/>
                      </a:lnTo>
                      <a:lnTo>
                        <a:pt x="1307" y="1649"/>
                      </a:lnTo>
                      <a:lnTo>
                        <a:pt x="1348" y="1643"/>
                      </a:lnTo>
                      <a:lnTo>
                        <a:pt x="1389" y="1643"/>
                      </a:lnTo>
                      <a:lnTo>
                        <a:pt x="1430" y="1649"/>
                      </a:lnTo>
                      <a:lnTo>
                        <a:pt x="1469" y="1663"/>
                      </a:lnTo>
                      <a:lnTo>
                        <a:pt x="1506" y="1682"/>
                      </a:lnTo>
                      <a:lnTo>
                        <a:pt x="1955" y="1233"/>
                      </a:lnTo>
                      <a:lnTo>
                        <a:pt x="1937" y="1201"/>
                      </a:lnTo>
                      <a:lnTo>
                        <a:pt x="1926" y="1167"/>
                      </a:lnTo>
                      <a:lnTo>
                        <a:pt x="1919" y="1132"/>
                      </a:lnTo>
                      <a:lnTo>
                        <a:pt x="1916" y="1096"/>
                      </a:lnTo>
                      <a:lnTo>
                        <a:pt x="1919" y="1051"/>
                      </a:lnTo>
                      <a:lnTo>
                        <a:pt x="1930" y="1009"/>
                      </a:lnTo>
                      <a:lnTo>
                        <a:pt x="1946" y="970"/>
                      </a:lnTo>
                      <a:lnTo>
                        <a:pt x="1969" y="934"/>
                      </a:lnTo>
                      <a:lnTo>
                        <a:pt x="1996" y="902"/>
                      </a:lnTo>
                      <a:lnTo>
                        <a:pt x="2027" y="874"/>
                      </a:lnTo>
                      <a:lnTo>
                        <a:pt x="2063" y="853"/>
                      </a:lnTo>
                      <a:lnTo>
                        <a:pt x="2103" y="836"/>
                      </a:lnTo>
                      <a:lnTo>
                        <a:pt x="2146" y="826"/>
                      </a:lnTo>
                      <a:lnTo>
                        <a:pt x="2189" y="822"/>
                      </a:lnTo>
                      <a:lnTo>
                        <a:pt x="2225" y="824"/>
                      </a:lnTo>
                      <a:lnTo>
                        <a:pt x="2262" y="832"/>
                      </a:lnTo>
                      <a:lnTo>
                        <a:pt x="2295" y="844"/>
                      </a:lnTo>
                      <a:lnTo>
                        <a:pt x="2328" y="860"/>
                      </a:lnTo>
                      <a:lnTo>
                        <a:pt x="2498" y="690"/>
                      </a:lnTo>
                      <a:lnTo>
                        <a:pt x="2443" y="617"/>
                      </a:lnTo>
                      <a:lnTo>
                        <a:pt x="2385" y="550"/>
                      </a:lnTo>
                      <a:lnTo>
                        <a:pt x="2323" y="488"/>
                      </a:lnTo>
                      <a:lnTo>
                        <a:pt x="2255" y="429"/>
                      </a:lnTo>
                      <a:lnTo>
                        <a:pt x="2185" y="376"/>
                      </a:lnTo>
                      <a:lnTo>
                        <a:pt x="2112" y="327"/>
                      </a:lnTo>
                      <a:lnTo>
                        <a:pt x="2035" y="285"/>
                      </a:lnTo>
                      <a:lnTo>
                        <a:pt x="1956" y="246"/>
                      </a:lnTo>
                      <a:lnTo>
                        <a:pt x="1874" y="214"/>
                      </a:lnTo>
                      <a:lnTo>
                        <a:pt x="1789" y="187"/>
                      </a:lnTo>
                      <a:lnTo>
                        <a:pt x="1703" y="166"/>
                      </a:lnTo>
                      <a:lnTo>
                        <a:pt x="1616" y="150"/>
                      </a:lnTo>
                      <a:lnTo>
                        <a:pt x="1527" y="141"/>
                      </a:lnTo>
                      <a:lnTo>
                        <a:pt x="1436" y="138"/>
                      </a:lnTo>
                      <a:close/>
                      <a:moveTo>
                        <a:pt x="1436" y="0"/>
                      </a:moveTo>
                      <a:lnTo>
                        <a:pt x="1544" y="5"/>
                      </a:lnTo>
                      <a:lnTo>
                        <a:pt x="1650" y="17"/>
                      </a:lnTo>
                      <a:lnTo>
                        <a:pt x="1752" y="35"/>
                      </a:lnTo>
                      <a:lnTo>
                        <a:pt x="1851" y="63"/>
                      </a:lnTo>
                      <a:lnTo>
                        <a:pt x="1949" y="95"/>
                      </a:lnTo>
                      <a:lnTo>
                        <a:pt x="2042" y="135"/>
                      </a:lnTo>
                      <a:lnTo>
                        <a:pt x="2132" y="181"/>
                      </a:lnTo>
                      <a:lnTo>
                        <a:pt x="2219" y="234"/>
                      </a:lnTo>
                      <a:lnTo>
                        <a:pt x="2301" y="291"/>
                      </a:lnTo>
                      <a:lnTo>
                        <a:pt x="2379" y="354"/>
                      </a:lnTo>
                      <a:lnTo>
                        <a:pt x="2452" y="422"/>
                      </a:lnTo>
                      <a:lnTo>
                        <a:pt x="2521" y="495"/>
                      </a:lnTo>
                      <a:lnTo>
                        <a:pt x="2584" y="574"/>
                      </a:lnTo>
                      <a:lnTo>
                        <a:pt x="2642" y="656"/>
                      </a:lnTo>
                      <a:lnTo>
                        <a:pt x="2694" y="742"/>
                      </a:lnTo>
                      <a:lnTo>
                        <a:pt x="2740" y="832"/>
                      </a:lnTo>
                      <a:lnTo>
                        <a:pt x="2779" y="927"/>
                      </a:lnTo>
                      <a:lnTo>
                        <a:pt x="2812" y="1023"/>
                      </a:lnTo>
                      <a:lnTo>
                        <a:pt x="2839" y="1122"/>
                      </a:lnTo>
                      <a:lnTo>
                        <a:pt x="2857" y="1226"/>
                      </a:lnTo>
                      <a:lnTo>
                        <a:pt x="2870" y="1330"/>
                      </a:lnTo>
                      <a:lnTo>
                        <a:pt x="2874" y="1438"/>
                      </a:lnTo>
                      <a:lnTo>
                        <a:pt x="2870" y="1545"/>
                      </a:lnTo>
                      <a:lnTo>
                        <a:pt x="2857" y="1649"/>
                      </a:lnTo>
                      <a:lnTo>
                        <a:pt x="2839" y="1753"/>
                      </a:lnTo>
                      <a:lnTo>
                        <a:pt x="2812" y="1853"/>
                      </a:lnTo>
                      <a:lnTo>
                        <a:pt x="2780" y="1950"/>
                      </a:lnTo>
                      <a:lnTo>
                        <a:pt x="2740" y="2043"/>
                      </a:lnTo>
                      <a:lnTo>
                        <a:pt x="2694" y="2133"/>
                      </a:lnTo>
                      <a:lnTo>
                        <a:pt x="2642" y="2220"/>
                      </a:lnTo>
                      <a:lnTo>
                        <a:pt x="2584" y="2303"/>
                      </a:lnTo>
                      <a:lnTo>
                        <a:pt x="2521" y="2380"/>
                      </a:lnTo>
                      <a:lnTo>
                        <a:pt x="2452" y="2453"/>
                      </a:lnTo>
                      <a:lnTo>
                        <a:pt x="2380" y="2522"/>
                      </a:lnTo>
                      <a:lnTo>
                        <a:pt x="2301" y="2586"/>
                      </a:lnTo>
                      <a:lnTo>
                        <a:pt x="2219" y="2643"/>
                      </a:lnTo>
                      <a:lnTo>
                        <a:pt x="2133" y="2695"/>
                      </a:lnTo>
                      <a:lnTo>
                        <a:pt x="2042" y="2741"/>
                      </a:lnTo>
                      <a:lnTo>
                        <a:pt x="1949" y="2780"/>
                      </a:lnTo>
                      <a:lnTo>
                        <a:pt x="1851" y="2814"/>
                      </a:lnTo>
                      <a:lnTo>
                        <a:pt x="1752" y="2840"/>
                      </a:lnTo>
                      <a:lnTo>
                        <a:pt x="1650" y="2859"/>
                      </a:lnTo>
                      <a:lnTo>
                        <a:pt x="1544" y="2870"/>
                      </a:lnTo>
                      <a:lnTo>
                        <a:pt x="1436" y="2875"/>
                      </a:lnTo>
                      <a:lnTo>
                        <a:pt x="1329" y="2870"/>
                      </a:lnTo>
                      <a:lnTo>
                        <a:pt x="1224" y="2859"/>
                      </a:lnTo>
                      <a:lnTo>
                        <a:pt x="1122" y="2840"/>
                      </a:lnTo>
                      <a:lnTo>
                        <a:pt x="1023" y="2814"/>
                      </a:lnTo>
                      <a:lnTo>
                        <a:pt x="925" y="2780"/>
                      </a:lnTo>
                      <a:lnTo>
                        <a:pt x="831" y="2741"/>
                      </a:lnTo>
                      <a:lnTo>
                        <a:pt x="741" y="2695"/>
                      </a:lnTo>
                      <a:lnTo>
                        <a:pt x="655" y="2643"/>
                      </a:lnTo>
                      <a:lnTo>
                        <a:pt x="573" y="2586"/>
                      </a:lnTo>
                      <a:lnTo>
                        <a:pt x="494" y="2522"/>
                      </a:lnTo>
                      <a:lnTo>
                        <a:pt x="421" y="2453"/>
                      </a:lnTo>
                      <a:lnTo>
                        <a:pt x="353" y="2380"/>
                      </a:lnTo>
                      <a:lnTo>
                        <a:pt x="290" y="2303"/>
                      </a:lnTo>
                      <a:lnTo>
                        <a:pt x="231" y="2220"/>
                      </a:lnTo>
                      <a:lnTo>
                        <a:pt x="180" y="2133"/>
                      </a:lnTo>
                      <a:lnTo>
                        <a:pt x="134" y="2043"/>
                      </a:lnTo>
                      <a:lnTo>
                        <a:pt x="94" y="1950"/>
                      </a:lnTo>
                      <a:lnTo>
                        <a:pt x="62" y="1853"/>
                      </a:lnTo>
                      <a:lnTo>
                        <a:pt x="35" y="1753"/>
                      </a:lnTo>
                      <a:lnTo>
                        <a:pt x="15" y="1649"/>
                      </a:lnTo>
                      <a:lnTo>
                        <a:pt x="4" y="1545"/>
                      </a:lnTo>
                      <a:lnTo>
                        <a:pt x="0" y="1438"/>
                      </a:lnTo>
                      <a:lnTo>
                        <a:pt x="4" y="1330"/>
                      </a:lnTo>
                      <a:lnTo>
                        <a:pt x="15" y="1226"/>
                      </a:lnTo>
                      <a:lnTo>
                        <a:pt x="35" y="1122"/>
                      </a:lnTo>
                      <a:lnTo>
                        <a:pt x="62" y="1023"/>
                      </a:lnTo>
                      <a:lnTo>
                        <a:pt x="94" y="925"/>
                      </a:lnTo>
                      <a:lnTo>
                        <a:pt x="134" y="832"/>
                      </a:lnTo>
                      <a:lnTo>
                        <a:pt x="180" y="742"/>
                      </a:lnTo>
                      <a:lnTo>
                        <a:pt x="231" y="655"/>
                      </a:lnTo>
                      <a:lnTo>
                        <a:pt x="290" y="573"/>
                      </a:lnTo>
                      <a:lnTo>
                        <a:pt x="353" y="495"/>
                      </a:lnTo>
                      <a:lnTo>
                        <a:pt x="421" y="422"/>
                      </a:lnTo>
                      <a:lnTo>
                        <a:pt x="494" y="353"/>
                      </a:lnTo>
                      <a:lnTo>
                        <a:pt x="573" y="290"/>
                      </a:lnTo>
                      <a:lnTo>
                        <a:pt x="655" y="232"/>
                      </a:lnTo>
                      <a:lnTo>
                        <a:pt x="741" y="180"/>
                      </a:lnTo>
                      <a:lnTo>
                        <a:pt x="831" y="135"/>
                      </a:lnTo>
                      <a:lnTo>
                        <a:pt x="925" y="95"/>
                      </a:lnTo>
                      <a:lnTo>
                        <a:pt x="1023" y="62"/>
                      </a:lnTo>
                      <a:lnTo>
                        <a:pt x="1122" y="35"/>
                      </a:lnTo>
                      <a:lnTo>
                        <a:pt x="1224" y="17"/>
                      </a:lnTo>
                      <a:lnTo>
                        <a:pt x="1329" y="5"/>
                      </a:lnTo>
                      <a:lnTo>
                        <a:pt x="1436" y="0"/>
                      </a:lnTo>
                      <a:close/>
                    </a:path>
                  </a:pathLst>
                </a:custGeom>
                <a:solidFill>
                  <a:schemeClr val="accent5">
                    <a:lumMod val="50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47" name="Freeform 8"/>
                <p:cNvSpPr>
                  <a:spLocks noEditPoints="1"/>
                </p:cNvSpPr>
                <p:nvPr/>
              </p:nvSpPr>
              <p:spPr bwMode="auto">
                <a:xfrm>
                  <a:off x="5554" y="-2214"/>
                  <a:ext cx="1026" cy="1026"/>
                </a:xfrm>
                <a:custGeom>
                  <a:avLst/>
                  <a:gdLst>
                    <a:gd name="T0" fmla="*/ 3652 w 4106"/>
                    <a:gd name="T1" fmla="*/ 3948 h 4105"/>
                    <a:gd name="T2" fmla="*/ 3851 w 4106"/>
                    <a:gd name="T3" fmla="*/ 3945 h 4105"/>
                    <a:gd name="T4" fmla="*/ 3969 w 4106"/>
                    <a:gd name="T5" fmla="*/ 3780 h 4105"/>
                    <a:gd name="T6" fmla="*/ 3904 w 4106"/>
                    <a:gd name="T7" fmla="*/ 3589 h 4105"/>
                    <a:gd name="T8" fmla="*/ 2960 w 4106"/>
                    <a:gd name="T9" fmla="*/ 2877 h 4105"/>
                    <a:gd name="T10" fmla="*/ 2782 w 4106"/>
                    <a:gd name="T11" fmla="*/ 3043 h 4105"/>
                    <a:gd name="T12" fmla="*/ 3390 w 4106"/>
                    <a:gd name="T13" fmla="*/ 277 h 4105"/>
                    <a:gd name="T14" fmla="*/ 3286 w 4106"/>
                    <a:gd name="T15" fmla="*/ 411 h 4105"/>
                    <a:gd name="T16" fmla="*/ 3390 w 4106"/>
                    <a:gd name="T17" fmla="*/ 544 h 4105"/>
                    <a:gd name="T18" fmla="*/ 3545 w 4106"/>
                    <a:gd name="T19" fmla="*/ 470 h 4105"/>
                    <a:gd name="T20" fmla="*/ 3507 w 4106"/>
                    <a:gd name="T21" fmla="*/ 305 h 4105"/>
                    <a:gd name="T22" fmla="*/ 1533 w 4106"/>
                    <a:gd name="T23" fmla="*/ 141 h 4105"/>
                    <a:gd name="T24" fmla="*/ 968 w 4106"/>
                    <a:gd name="T25" fmla="*/ 317 h 4105"/>
                    <a:gd name="T26" fmla="*/ 496 w 4106"/>
                    <a:gd name="T27" fmla="*/ 702 h 4105"/>
                    <a:gd name="T28" fmla="*/ 213 w 4106"/>
                    <a:gd name="T29" fmla="*/ 1215 h 4105"/>
                    <a:gd name="T30" fmla="*/ 136 w 4106"/>
                    <a:gd name="T31" fmla="*/ 1788 h 4105"/>
                    <a:gd name="T32" fmla="*/ 274 w 4106"/>
                    <a:gd name="T33" fmla="*/ 2359 h 4105"/>
                    <a:gd name="T34" fmla="*/ 628 w 4106"/>
                    <a:gd name="T35" fmla="*/ 2856 h 4105"/>
                    <a:gd name="T36" fmla="*/ 1124 w 4106"/>
                    <a:gd name="T37" fmla="*/ 3171 h 4105"/>
                    <a:gd name="T38" fmla="*/ 1691 w 4106"/>
                    <a:gd name="T39" fmla="*/ 3284 h 4105"/>
                    <a:gd name="T40" fmla="*/ 2267 w 4106"/>
                    <a:gd name="T41" fmla="*/ 3183 h 4105"/>
                    <a:gd name="T42" fmla="*/ 2713 w 4106"/>
                    <a:gd name="T43" fmla="*/ 2923 h 4105"/>
                    <a:gd name="T44" fmla="*/ 2959 w 4106"/>
                    <a:gd name="T45" fmla="*/ 2669 h 4105"/>
                    <a:gd name="T46" fmla="*/ 3220 w 4106"/>
                    <a:gd name="T47" fmla="*/ 2159 h 4105"/>
                    <a:gd name="T48" fmla="*/ 3278 w 4106"/>
                    <a:gd name="T49" fmla="*/ 1556 h 4105"/>
                    <a:gd name="T50" fmla="*/ 3102 w 4106"/>
                    <a:gd name="T51" fmla="*/ 971 h 4105"/>
                    <a:gd name="T52" fmla="*/ 2715 w 4106"/>
                    <a:gd name="T53" fmla="*/ 494 h 4105"/>
                    <a:gd name="T54" fmla="*/ 2204 w 4106"/>
                    <a:gd name="T55" fmla="*/ 211 h 4105"/>
                    <a:gd name="T56" fmla="*/ 1731 w 4106"/>
                    <a:gd name="T57" fmla="*/ 0 h 4105"/>
                    <a:gd name="T58" fmla="*/ 2325 w 4106"/>
                    <a:gd name="T59" fmla="*/ 114 h 4105"/>
                    <a:gd name="T60" fmla="*/ 2849 w 4106"/>
                    <a:gd name="T61" fmla="*/ 434 h 4105"/>
                    <a:gd name="T62" fmla="*/ 3158 w 4106"/>
                    <a:gd name="T63" fmla="*/ 483 h 4105"/>
                    <a:gd name="T64" fmla="*/ 3201 w 4106"/>
                    <a:gd name="T65" fmla="*/ 250 h 4105"/>
                    <a:gd name="T66" fmla="*/ 3423 w 4106"/>
                    <a:gd name="T67" fmla="*/ 138 h 4105"/>
                    <a:gd name="T68" fmla="*/ 3631 w 4106"/>
                    <a:gd name="T69" fmla="*/ 236 h 4105"/>
                    <a:gd name="T70" fmla="*/ 3686 w 4106"/>
                    <a:gd name="T71" fmla="*/ 479 h 4105"/>
                    <a:gd name="T72" fmla="*/ 3539 w 4106"/>
                    <a:gd name="T73" fmla="*/ 657 h 4105"/>
                    <a:gd name="T74" fmla="*/ 3317 w 4106"/>
                    <a:gd name="T75" fmla="*/ 662 h 4105"/>
                    <a:gd name="T76" fmla="*/ 3337 w 4106"/>
                    <a:gd name="T77" fmla="*/ 1180 h 4105"/>
                    <a:gd name="T78" fmla="*/ 3419 w 4106"/>
                    <a:gd name="T79" fmla="*/ 1818 h 4105"/>
                    <a:gd name="T80" fmla="*/ 3256 w 4106"/>
                    <a:gd name="T81" fmla="*/ 2445 h 4105"/>
                    <a:gd name="T82" fmla="*/ 4033 w 4106"/>
                    <a:gd name="T83" fmla="*/ 3529 h 4105"/>
                    <a:gd name="T84" fmla="*/ 4103 w 4106"/>
                    <a:gd name="T85" fmla="*/ 3792 h 4105"/>
                    <a:gd name="T86" fmla="*/ 3965 w 4106"/>
                    <a:gd name="T87" fmla="*/ 4031 h 4105"/>
                    <a:gd name="T88" fmla="*/ 3748 w 4106"/>
                    <a:gd name="T89" fmla="*/ 4105 h 4105"/>
                    <a:gd name="T90" fmla="*/ 3494 w 4106"/>
                    <a:gd name="T91" fmla="*/ 4000 h 4105"/>
                    <a:gd name="T92" fmla="*/ 2361 w 4106"/>
                    <a:gd name="T93" fmla="*/ 3292 h 4105"/>
                    <a:gd name="T94" fmla="*/ 1769 w 4106"/>
                    <a:gd name="T95" fmla="*/ 3419 h 4105"/>
                    <a:gd name="T96" fmla="*/ 1178 w 4106"/>
                    <a:gd name="T97" fmla="*/ 3336 h 4105"/>
                    <a:gd name="T98" fmla="*/ 646 w 4106"/>
                    <a:gd name="T99" fmla="*/ 3049 h 4105"/>
                    <a:gd name="T100" fmla="*/ 233 w 4106"/>
                    <a:gd name="T101" fmla="*/ 2573 h 4105"/>
                    <a:gd name="T102" fmla="*/ 24 w 4106"/>
                    <a:gd name="T103" fmla="*/ 1992 h 4105"/>
                    <a:gd name="T104" fmla="*/ 31 w 4106"/>
                    <a:gd name="T105" fmla="*/ 1388 h 4105"/>
                    <a:gd name="T106" fmla="*/ 249 w 4106"/>
                    <a:gd name="T107" fmla="*/ 822 h 4105"/>
                    <a:gd name="T108" fmla="*/ 669 w 4106"/>
                    <a:gd name="T109" fmla="*/ 353 h 4105"/>
                    <a:gd name="T110" fmla="*/ 1229 w 4106"/>
                    <a:gd name="T111" fmla="*/ 69 h 410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4106" h="4105">
                      <a:moveTo>
                        <a:pt x="3354" y="3039"/>
                      </a:moveTo>
                      <a:lnTo>
                        <a:pt x="3040" y="3352"/>
                      </a:lnTo>
                      <a:lnTo>
                        <a:pt x="3591" y="3903"/>
                      </a:lnTo>
                      <a:lnTo>
                        <a:pt x="3595" y="3907"/>
                      </a:lnTo>
                      <a:lnTo>
                        <a:pt x="3622" y="3929"/>
                      </a:lnTo>
                      <a:lnTo>
                        <a:pt x="3652" y="3948"/>
                      </a:lnTo>
                      <a:lnTo>
                        <a:pt x="3684" y="3960"/>
                      </a:lnTo>
                      <a:lnTo>
                        <a:pt x="3718" y="3968"/>
                      </a:lnTo>
                      <a:lnTo>
                        <a:pt x="3752" y="3970"/>
                      </a:lnTo>
                      <a:lnTo>
                        <a:pt x="3785" y="3967"/>
                      </a:lnTo>
                      <a:lnTo>
                        <a:pt x="3819" y="3959"/>
                      </a:lnTo>
                      <a:lnTo>
                        <a:pt x="3851" y="3945"/>
                      </a:lnTo>
                      <a:lnTo>
                        <a:pt x="3880" y="3927"/>
                      </a:lnTo>
                      <a:lnTo>
                        <a:pt x="3908" y="3903"/>
                      </a:lnTo>
                      <a:lnTo>
                        <a:pt x="3931" y="3876"/>
                      </a:lnTo>
                      <a:lnTo>
                        <a:pt x="3949" y="3846"/>
                      </a:lnTo>
                      <a:lnTo>
                        <a:pt x="3961" y="3813"/>
                      </a:lnTo>
                      <a:lnTo>
                        <a:pt x="3969" y="3780"/>
                      </a:lnTo>
                      <a:lnTo>
                        <a:pt x="3971" y="3746"/>
                      </a:lnTo>
                      <a:lnTo>
                        <a:pt x="3969" y="3711"/>
                      </a:lnTo>
                      <a:lnTo>
                        <a:pt x="3960" y="3679"/>
                      </a:lnTo>
                      <a:lnTo>
                        <a:pt x="3946" y="3646"/>
                      </a:lnTo>
                      <a:lnTo>
                        <a:pt x="3928" y="3616"/>
                      </a:lnTo>
                      <a:lnTo>
                        <a:pt x="3904" y="3589"/>
                      </a:lnTo>
                      <a:lnTo>
                        <a:pt x="3354" y="3039"/>
                      </a:lnTo>
                      <a:close/>
                      <a:moveTo>
                        <a:pt x="3067" y="2753"/>
                      </a:moveTo>
                      <a:lnTo>
                        <a:pt x="3045" y="2781"/>
                      </a:lnTo>
                      <a:lnTo>
                        <a:pt x="3019" y="2811"/>
                      </a:lnTo>
                      <a:lnTo>
                        <a:pt x="2981" y="2856"/>
                      </a:lnTo>
                      <a:lnTo>
                        <a:pt x="2960" y="2877"/>
                      </a:lnTo>
                      <a:lnTo>
                        <a:pt x="2920" y="2920"/>
                      </a:lnTo>
                      <a:lnTo>
                        <a:pt x="2879" y="2960"/>
                      </a:lnTo>
                      <a:lnTo>
                        <a:pt x="2857" y="2979"/>
                      </a:lnTo>
                      <a:lnTo>
                        <a:pt x="2813" y="3018"/>
                      </a:lnTo>
                      <a:lnTo>
                        <a:pt x="2797" y="3031"/>
                      </a:lnTo>
                      <a:lnTo>
                        <a:pt x="2782" y="3043"/>
                      </a:lnTo>
                      <a:lnTo>
                        <a:pt x="2753" y="3067"/>
                      </a:lnTo>
                      <a:lnTo>
                        <a:pt x="2943" y="3256"/>
                      </a:lnTo>
                      <a:lnTo>
                        <a:pt x="3257" y="2942"/>
                      </a:lnTo>
                      <a:lnTo>
                        <a:pt x="3067" y="2753"/>
                      </a:lnTo>
                      <a:close/>
                      <a:moveTo>
                        <a:pt x="3423" y="273"/>
                      </a:moveTo>
                      <a:lnTo>
                        <a:pt x="3390" y="277"/>
                      </a:lnTo>
                      <a:lnTo>
                        <a:pt x="3362" y="288"/>
                      </a:lnTo>
                      <a:lnTo>
                        <a:pt x="3337" y="305"/>
                      </a:lnTo>
                      <a:lnTo>
                        <a:pt x="3316" y="326"/>
                      </a:lnTo>
                      <a:lnTo>
                        <a:pt x="3299" y="351"/>
                      </a:lnTo>
                      <a:lnTo>
                        <a:pt x="3289" y="379"/>
                      </a:lnTo>
                      <a:lnTo>
                        <a:pt x="3286" y="411"/>
                      </a:lnTo>
                      <a:lnTo>
                        <a:pt x="3289" y="442"/>
                      </a:lnTo>
                      <a:lnTo>
                        <a:pt x="3299" y="470"/>
                      </a:lnTo>
                      <a:lnTo>
                        <a:pt x="3316" y="497"/>
                      </a:lnTo>
                      <a:lnTo>
                        <a:pt x="3337" y="518"/>
                      </a:lnTo>
                      <a:lnTo>
                        <a:pt x="3362" y="534"/>
                      </a:lnTo>
                      <a:lnTo>
                        <a:pt x="3390" y="544"/>
                      </a:lnTo>
                      <a:lnTo>
                        <a:pt x="3423" y="548"/>
                      </a:lnTo>
                      <a:lnTo>
                        <a:pt x="3454" y="544"/>
                      </a:lnTo>
                      <a:lnTo>
                        <a:pt x="3483" y="534"/>
                      </a:lnTo>
                      <a:lnTo>
                        <a:pt x="3507" y="518"/>
                      </a:lnTo>
                      <a:lnTo>
                        <a:pt x="3529" y="497"/>
                      </a:lnTo>
                      <a:lnTo>
                        <a:pt x="3545" y="470"/>
                      </a:lnTo>
                      <a:lnTo>
                        <a:pt x="3555" y="442"/>
                      </a:lnTo>
                      <a:lnTo>
                        <a:pt x="3559" y="411"/>
                      </a:lnTo>
                      <a:lnTo>
                        <a:pt x="3555" y="379"/>
                      </a:lnTo>
                      <a:lnTo>
                        <a:pt x="3545" y="351"/>
                      </a:lnTo>
                      <a:lnTo>
                        <a:pt x="3529" y="326"/>
                      </a:lnTo>
                      <a:lnTo>
                        <a:pt x="3507" y="305"/>
                      </a:lnTo>
                      <a:lnTo>
                        <a:pt x="3483" y="288"/>
                      </a:lnTo>
                      <a:lnTo>
                        <a:pt x="3454" y="277"/>
                      </a:lnTo>
                      <a:lnTo>
                        <a:pt x="3423" y="273"/>
                      </a:lnTo>
                      <a:close/>
                      <a:moveTo>
                        <a:pt x="1728" y="133"/>
                      </a:moveTo>
                      <a:lnTo>
                        <a:pt x="1630" y="134"/>
                      </a:lnTo>
                      <a:lnTo>
                        <a:pt x="1533" y="141"/>
                      </a:lnTo>
                      <a:lnTo>
                        <a:pt x="1437" y="156"/>
                      </a:lnTo>
                      <a:lnTo>
                        <a:pt x="1340" y="175"/>
                      </a:lnTo>
                      <a:lnTo>
                        <a:pt x="1245" y="201"/>
                      </a:lnTo>
                      <a:lnTo>
                        <a:pt x="1152" y="234"/>
                      </a:lnTo>
                      <a:lnTo>
                        <a:pt x="1059" y="272"/>
                      </a:lnTo>
                      <a:lnTo>
                        <a:pt x="968" y="317"/>
                      </a:lnTo>
                      <a:lnTo>
                        <a:pt x="880" y="368"/>
                      </a:lnTo>
                      <a:lnTo>
                        <a:pt x="793" y="426"/>
                      </a:lnTo>
                      <a:lnTo>
                        <a:pt x="710" y="489"/>
                      </a:lnTo>
                      <a:lnTo>
                        <a:pt x="634" y="556"/>
                      </a:lnTo>
                      <a:lnTo>
                        <a:pt x="562" y="627"/>
                      </a:lnTo>
                      <a:lnTo>
                        <a:pt x="496" y="702"/>
                      </a:lnTo>
                      <a:lnTo>
                        <a:pt x="435" y="781"/>
                      </a:lnTo>
                      <a:lnTo>
                        <a:pt x="379" y="862"/>
                      </a:lnTo>
                      <a:lnTo>
                        <a:pt x="329" y="947"/>
                      </a:lnTo>
                      <a:lnTo>
                        <a:pt x="284" y="1034"/>
                      </a:lnTo>
                      <a:lnTo>
                        <a:pt x="246" y="1124"/>
                      </a:lnTo>
                      <a:lnTo>
                        <a:pt x="213" y="1215"/>
                      </a:lnTo>
                      <a:lnTo>
                        <a:pt x="186" y="1307"/>
                      </a:lnTo>
                      <a:lnTo>
                        <a:pt x="163" y="1401"/>
                      </a:lnTo>
                      <a:lnTo>
                        <a:pt x="147" y="1497"/>
                      </a:lnTo>
                      <a:lnTo>
                        <a:pt x="137" y="1593"/>
                      </a:lnTo>
                      <a:lnTo>
                        <a:pt x="133" y="1691"/>
                      </a:lnTo>
                      <a:lnTo>
                        <a:pt x="136" y="1788"/>
                      </a:lnTo>
                      <a:lnTo>
                        <a:pt x="143" y="1884"/>
                      </a:lnTo>
                      <a:lnTo>
                        <a:pt x="157" y="1981"/>
                      </a:lnTo>
                      <a:lnTo>
                        <a:pt x="177" y="2077"/>
                      </a:lnTo>
                      <a:lnTo>
                        <a:pt x="203" y="2172"/>
                      </a:lnTo>
                      <a:lnTo>
                        <a:pt x="236" y="2267"/>
                      </a:lnTo>
                      <a:lnTo>
                        <a:pt x="274" y="2359"/>
                      </a:lnTo>
                      <a:lnTo>
                        <a:pt x="318" y="2450"/>
                      </a:lnTo>
                      <a:lnTo>
                        <a:pt x="370" y="2538"/>
                      </a:lnTo>
                      <a:lnTo>
                        <a:pt x="428" y="2624"/>
                      </a:lnTo>
                      <a:lnTo>
                        <a:pt x="490" y="2706"/>
                      </a:lnTo>
                      <a:lnTo>
                        <a:pt x="557" y="2784"/>
                      </a:lnTo>
                      <a:lnTo>
                        <a:pt x="628" y="2856"/>
                      </a:lnTo>
                      <a:lnTo>
                        <a:pt x="703" y="2922"/>
                      </a:lnTo>
                      <a:lnTo>
                        <a:pt x="782" y="2983"/>
                      </a:lnTo>
                      <a:lnTo>
                        <a:pt x="864" y="3038"/>
                      </a:lnTo>
                      <a:lnTo>
                        <a:pt x="949" y="3088"/>
                      </a:lnTo>
                      <a:lnTo>
                        <a:pt x="1035" y="3133"/>
                      </a:lnTo>
                      <a:lnTo>
                        <a:pt x="1124" y="3171"/>
                      </a:lnTo>
                      <a:lnTo>
                        <a:pt x="1215" y="3205"/>
                      </a:lnTo>
                      <a:lnTo>
                        <a:pt x="1309" y="3232"/>
                      </a:lnTo>
                      <a:lnTo>
                        <a:pt x="1402" y="3254"/>
                      </a:lnTo>
                      <a:lnTo>
                        <a:pt x="1498" y="3270"/>
                      </a:lnTo>
                      <a:lnTo>
                        <a:pt x="1594" y="3280"/>
                      </a:lnTo>
                      <a:lnTo>
                        <a:pt x="1691" y="3284"/>
                      </a:lnTo>
                      <a:lnTo>
                        <a:pt x="1789" y="3282"/>
                      </a:lnTo>
                      <a:lnTo>
                        <a:pt x="1886" y="3275"/>
                      </a:lnTo>
                      <a:lnTo>
                        <a:pt x="1982" y="3261"/>
                      </a:lnTo>
                      <a:lnTo>
                        <a:pt x="2078" y="3241"/>
                      </a:lnTo>
                      <a:lnTo>
                        <a:pt x="2174" y="3215"/>
                      </a:lnTo>
                      <a:lnTo>
                        <a:pt x="2267" y="3183"/>
                      </a:lnTo>
                      <a:lnTo>
                        <a:pt x="2360" y="3144"/>
                      </a:lnTo>
                      <a:lnTo>
                        <a:pt x="2450" y="3099"/>
                      </a:lnTo>
                      <a:lnTo>
                        <a:pt x="2539" y="3048"/>
                      </a:lnTo>
                      <a:lnTo>
                        <a:pt x="2625" y="2991"/>
                      </a:lnTo>
                      <a:lnTo>
                        <a:pt x="2670" y="2957"/>
                      </a:lnTo>
                      <a:lnTo>
                        <a:pt x="2713" y="2923"/>
                      </a:lnTo>
                      <a:lnTo>
                        <a:pt x="2738" y="2902"/>
                      </a:lnTo>
                      <a:lnTo>
                        <a:pt x="2808" y="2837"/>
                      </a:lnTo>
                      <a:lnTo>
                        <a:pt x="2838" y="2807"/>
                      </a:lnTo>
                      <a:lnTo>
                        <a:pt x="2903" y="2736"/>
                      </a:lnTo>
                      <a:lnTo>
                        <a:pt x="2924" y="2713"/>
                      </a:lnTo>
                      <a:lnTo>
                        <a:pt x="2959" y="2669"/>
                      </a:lnTo>
                      <a:lnTo>
                        <a:pt x="2991" y="2624"/>
                      </a:lnTo>
                      <a:lnTo>
                        <a:pt x="3050" y="2536"/>
                      </a:lnTo>
                      <a:lnTo>
                        <a:pt x="3102" y="2446"/>
                      </a:lnTo>
                      <a:lnTo>
                        <a:pt x="3147" y="2353"/>
                      </a:lnTo>
                      <a:lnTo>
                        <a:pt x="3187" y="2257"/>
                      </a:lnTo>
                      <a:lnTo>
                        <a:pt x="3220" y="2159"/>
                      </a:lnTo>
                      <a:lnTo>
                        <a:pt x="3246" y="2061"/>
                      </a:lnTo>
                      <a:lnTo>
                        <a:pt x="3264" y="1961"/>
                      </a:lnTo>
                      <a:lnTo>
                        <a:pt x="3278" y="1860"/>
                      </a:lnTo>
                      <a:lnTo>
                        <a:pt x="3284" y="1759"/>
                      </a:lnTo>
                      <a:lnTo>
                        <a:pt x="3284" y="1657"/>
                      </a:lnTo>
                      <a:lnTo>
                        <a:pt x="3278" y="1556"/>
                      </a:lnTo>
                      <a:lnTo>
                        <a:pt x="3264" y="1455"/>
                      </a:lnTo>
                      <a:lnTo>
                        <a:pt x="3246" y="1355"/>
                      </a:lnTo>
                      <a:lnTo>
                        <a:pt x="3220" y="1257"/>
                      </a:lnTo>
                      <a:lnTo>
                        <a:pt x="3187" y="1160"/>
                      </a:lnTo>
                      <a:lnTo>
                        <a:pt x="3147" y="1064"/>
                      </a:lnTo>
                      <a:lnTo>
                        <a:pt x="3102" y="971"/>
                      </a:lnTo>
                      <a:lnTo>
                        <a:pt x="3050" y="880"/>
                      </a:lnTo>
                      <a:lnTo>
                        <a:pt x="2991" y="792"/>
                      </a:lnTo>
                      <a:lnTo>
                        <a:pt x="2929" y="710"/>
                      </a:lnTo>
                      <a:lnTo>
                        <a:pt x="2862" y="632"/>
                      </a:lnTo>
                      <a:lnTo>
                        <a:pt x="2791" y="561"/>
                      </a:lnTo>
                      <a:lnTo>
                        <a:pt x="2715" y="494"/>
                      </a:lnTo>
                      <a:lnTo>
                        <a:pt x="2636" y="433"/>
                      </a:lnTo>
                      <a:lnTo>
                        <a:pt x="2555" y="378"/>
                      </a:lnTo>
                      <a:lnTo>
                        <a:pt x="2470" y="328"/>
                      </a:lnTo>
                      <a:lnTo>
                        <a:pt x="2383" y="283"/>
                      </a:lnTo>
                      <a:lnTo>
                        <a:pt x="2295" y="245"/>
                      </a:lnTo>
                      <a:lnTo>
                        <a:pt x="2204" y="211"/>
                      </a:lnTo>
                      <a:lnTo>
                        <a:pt x="2110" y="184"/>
                      </a:lnTo>
                      <a:lnTo>
                        <a:pt x="2015" y="163"/>
                      </a:lnTo>
                      <a:lnTo>
                        <a:pt x="1921" y="146"/>
                      </a:lnTo>
                      <a:lnTo>
                        <a:pt x="1825" y="136"/>
                      </a:lnTo>
                      <a:lnTo>
                        <a:pt x="1728" y="133"/>
                      </a:lnTo>
                      <a:close/>
                      <a:moveTo>
                        <a:pt x="1731" y="0"/>
                      </a:moveTo>
                      <a:lnTo>
                        <a:pt x="1832" y="4"/>
                      </a:lnTo>
                      <a:lnTo>
                        <a:pt x="1933" y="14"/>
                      </a:lnTo>
                      <a:lnTo>
                        <a:pt x="2033" y="30"/>
                      </a:lnTo>
                      <a:lnTo>
                        <a:pt x="2131" y="53"/>
                      </a:lnTo>
                      <a:lnTo>
                        <a:pt x="2229" y="80"/>
                      </a:lnTo>
                      <a:lnTo>
                        <a:pt x="2325" y="114"/>
                      </a:lnTo>
                      <a:lnTo>
                        <a:pt x="2418" y="154"/>
                      </a:lnTo>
                      <a:lnTo>
                        <a:pt x="2510" y="199"/>
                      </a:lnTo>
                      <a:lnTo>
                        <a:pt x="2599" y="249"/>
                      </a:lnTo>
                      <a:lnTo>
                        <a:pt x="2686" y="305"/>
                      </a:lnTo>
                      <a:lnTo>
                        <a:pt x="2770" y="367"/>
                      </a:lnTo>
                      <a:lnTo>
                        <a:pt x="2849" y="434"/>
                      </a:lnTo>
                      <a:lnTo>
                        <a:pt x="2925" y="507"/>
                      </a:lnTo>
                      <a:lnTo>
                        <a:pt x="2999" y="585"/>
                      </a:lnTo>
                      <a:lnTo>
                        <a:pt x="3067" y="669"/>
                      </a:lnTo>
                      <a:lnTo>
                        <a:pt x="3187" y="549"/>
                      </a:lnTo>
                      <a:lnTo>
                        <a:pt x="3171" y="517"/>
                      </a:lnTo>
                      <a:lnTo>
                        <a:pt x="3158" y="483"/>
                      </a:lnTo>
                      <a:lnTo>
                        <a:pt x="3151" y="447"/>
                      </a:lnTo>
                      <a:lnTo>
                        <a:pt x="3149" y="411"/>
                      </a:lnTo>
                      <a:lnTo>
                        <a:pt x="3152" y="367"/>
                      </a:lnTo>
                      <a:lnTo>
                        <a:pt x="3162" y="325"/>
                      </a:lnTo>
                      <a:lnTo>
                        <a:pt x="3178" y="285"/>
                      </a:lnTo>
                      <a:lnTo>
                        <a:pt x="3201" y="250"/>
                      </a:lnTo>
                      <a:lnTo>
                        <a:pt x="3228" y="217"/>
                      </a:lnTo>
                      <a:lnTo>
                        <a:pt x="3261" y="190"/>
                      </a:lnTo>
                      <a:lnTo>
                        <a:pt x="3297" y="168"/>
                      </a:lnTo>
                      <a:lnTo>
                        <a:pt x="3335" y="151"/>
                      </a:lnTo>
                      <a:lnTo>
                        <a:pt x="3378" y="141"/>
                      </a:lnTo>
                      <a:lnTo>
                        <a:pt x="3423" y="138"/>
                      </a:lnTo>
                      <a:lnTo>
                        <a:pt x="3463" y="140"/>
                      </a:lnTo>
                      <a:lnTo>
                        <a:pt x="3502" y="149"/>
                      </a:lnTo>
                      <a:lnTo>
                        <a:pt x="3539" y="164"/>
                      </a:lnTo>
                      <a:lnTo>
                        <a:pt x="3574" y="184"/>
                      </a:lnTo>
                      <a:lnTo>
                        <a:pt x="3605" y="207"/>
                      </a:lnTo>
                      <a:lnTo>
                        <a:pt x="3631" y="236"/>
                      </a:lnTo>
                      <a:lnTo>
                        <a:pt x="3655" y="268"/>
                      </a:lnTo>
                      <a:lnTo>
                        <a:pt x="3673" y="303"/>
                      </a:lnTo>
                      <a:lnTo>
                        <a:pt x="3686" y="342"/>
                      </a:lnTo>
                      <a:lnTo>
                        <a:pt x="4106" y="342"/>
                      </a:lnTo>
                      <a:lnTo>
                        <a:pt x="4106" y="479"/>
                      </a:lnTo>
                      <a:lnTo>
                        <a:pt x="3686" y="479"/>
                      </a:lnTo>
                      <a:lnTo>
                        <a:pt x="3673" y="518"/>
                      </a:lnTo>
                      <a:lnTo>
                        <a:pt x="3655" y="554"/>
                      </a:lnTo>
                      <a:lnTo>
                        <a:pt x="3631" y="586"/>
                      </a:lnTo>
                      <a:lnTo>
                        <a:pt x="3605" y="614"/>
                      </a:lnTo>
                      <a:lnTo>
                        <a:pt x="3574" y="639"/>
                      </a:lnTo>
                      <a:lnTo>
                        <a:pt x="3539" y="657"/>
                      </a:lnTo>
                      <a:lnTo>
                        <a:pt x="3502" y="672"/>
                      </a:lnTo>
                      <a:lnTo>
                        <a:pt x="3463" y="681"/>
                      </a:lnTo>
                      <a:lnTo>
                        <a:pt x="3423" y="685"/>
                      </a:lnTo>
                      <a:lnTo>
                        <a:pt x="3385" y="682"/>
                      </a:lnTo>
                      <a:lnTo>
                        <a:pt x="3350" y="675"/>
                      </a:lnTo>
                      <a:lnTo>
                        <a:pt x="3317" y="662"/>
                      </a:lnTo>
                      <a:lnTo>
                        <a:pt x="3284" y="646"/>
                      </a:lnTo>
                      <a:lnTo>
                        <a:pt x="3147" y="782"/>
                      </a:lnTo>
                      <a:lnTo>
                        <a:pt x="3205" y="878"/>
                      </a:lnTo>
                      <a:lnTo>
                        <a:pt x="3256" y="976"/>
                      </a:lnTo>
                      <a:lnTo>
                        <a:pt x="3301" y="1076"/>
                      </a:lnTo>
                      <a:lnTo>
                        <a:pt x="3337" y="1180"/>
                      </a:lnTo>
                      <a:lnTo>
                        <a:pt x="3368" y="1283"/>
                      </a:lnTo>
                      <a:lnTo>
                        <a:pt x="3392" y="1389"/>
                      </a:lnTo>
                      <a:lnTo>
                        <a:pt x="3409" y="1496"/>
                      </a:lnTo>
                      <a:lnTo>
                        <a:pt x="3419" y="1603"/>
                      </a:lnTo>
                      <a:lnTo>
                        <a:pt x="3423" y="1711"/>
                      </a:lnTo>
                      <a:lnTo>
                        <a:pt x="3419" y="1818"/>
                      </a:lnTo>
                      <a:lnTo>
                        <a:pt x="3409" y="1925"/>
                      </a:lnTo>
                      <a:lnTo>
                        <a:pt x="3392" y="2032"/>
                      </a:lnTo>
                      <a:lnTo>
                        <a:pt x="3368" y="2138"/>
                      </a:lnTo>
                      <a:lnTo>
                        <a:pt x="3337" y="2242"/>
                      </a:lnTo>
                      <a:lnTo>
                        <a:pt x="3301" y="2345"/>
                      </a:lnTo>
                      <a:lnTo>
                        <a:pt x="3256" y="2445"/>
                      </a:lnTo>
                      <a:lnTo>
                        <a:pt x="3205" y="2543"/>
                      </a:lnTo>
                      <a:lnTo>
                        <a:pt x="3147" y="2639"/>
                      </a:lnTo>
                      <a:lnTo>
                        <a:pt x="3354" y="2845"/>
                      </a:lnTo>
                      <a:lnTo>
                        <a:pt x="3450" y="2942"/>
                      </a:lnTo>
                      <a:lnTo>
                        <a:pt x="4001" y="3493"/>
                      </a:lnTo>
                      <a:lnTo>
                        <a:pt x="4033" y="3529"/>
                      </a:lnTo>
                      <a:lnTo>
                        <a:pt x="4060" y="3569"/>
                      </a:lnTo>
                      <a:lnTo>
                        <a:pt x="4080" y="3611"/>
                      </a:lnTo>
                      <a:lnTo>
                        <a:pt x="4095" y="3655"/>
                      </a:lnTo>
                      <a:lnTo>
                        <a:pt x="4103" y="3701"/>
                      </a:lnTo>
                      <a:lnTo>
                        <a:pt x="4106" y="3746"/>
                      </a:lnTo>
                      <a:lnTo>
                        <a:pt x="4103" y="3792"/>
                      </a:lnTo>
                      <a:lnTo>
                        <a:pt x="4095" y="3837"/>
                      </a:lnTo>
                      <a:lnTo>
                        <a:pt x="4080" y="3882"/>
                      </a:lnTo>
                      <a:lnTo>
                        <a:pt x="4060" y="3923"/>
                      </a:lnTo>
                      <a:lnTo>
                        <a:pt x="4033" y="3963"/>
                      </a:lnTo>
                      <a:lnTo>
                        <a:pt x="4001" y="4000"/>
                      </a:lnTo>
                      <a:lnTo>
                        <a:pt x="3965" y="4031"/>
                      </a:lnTo>
                      <a:lnTo>
                        <a:pt x="3925" y="4059"/>
                      </a:lnTo>
                      <a:lnTo>
                        <a:pt x="3883" y="4079"/>
                      </a:lnTo>
                      <a:lnTo>
                        <a:pt x="3839" y="4094"/>
                      </a:lnTo>
                      <a:lnTo>
                        <a:pt x="3793" y="4103"/>
                      </a:lnTo>
                      <a:lnTo>
                        <a:pt x="3748" y="4105"/>
                      </a:lnTo>
                      <a:lnTo>
                        <a:pt x="3748" y="4105"/>
                      </a:lnTo>
                      <a:lnTo>
                        <a:pt x="3702" y="4103"/>
                      </a:lnTo>
                      <a:lnTo>
                        <a:pt x="3657" y="4094"/>
                      </a:lnTo>
                      <a:lnTo>
                        <a:pt x="3612" y="4079"/>
                      </a:lnTo>
                      <a:lnTo>
                        <a:pt x="3571" y="4059"/>
                      </a:lnTo>
                      <a:lnTo>
                        <a:pt x="3531" y="4031"/>
                      </a:lnTo>
                      <a:lnTo>
                        <a:pt x="3494" y="4000"/>
                      </a:lnTo>
                      <a:lnTo>
                        <a:pt x="2943" y="3449"/>
                      </a:lnTo>
                      <a:lnTo>
                        <a:pt x="2847" y="3352"/>
                      </a:lnTo>
                      <a:lnTo>
                        <a:pt x="2640" y="3146"/>
                      </a:lnTo>
                      <a:lnTo>
                        <a:pt x="2549" y="3201"/>
                      </a:lnTo>
                      <a:lnTo>
                        <a:pt x="2455" y="3250"/>
                      </a:lnTo>
                      <a:lnTo>
                        <a:pt x="2361" y="3292"/>
                      </a:lnTo>
                      <a:lnTo>
                        <a:pt x="2265" y="3328"/>
                      </a:lnTo>
                      <a:lnTo>
                        <a:pt x="2168" y="3360"/>
                      </a:lnTo>
                      <a:lnTo>
                        <a:pt x="2068" y="3383"/>
                      </a:lnTo>
                      <a:lnTo>
                        <a:pt x="1968" y="3402"/>
                      </a:lnTo>
                      <a:lnTo>
                        <a:pt x="1868" y="3413"/>
                      </a:lnTo>
                      <a:lnTo>
                        <a:pt x="1769" y="3419"/>
                      </a:lnTo>
                      <a:lnTo>
                        <a:pt x="1668" y="3421"/>
                      </a:lnTo>
                      <a:lnTo>
                        <a:pt x="1568" y="3414"/>
                      </a:lnTo>
                      <a:lnTo>
                        <a:pt x="1470" y="3403"/>
                      </a:lnTo>
                      <a:lnTo>
                        <a:pt x="1371" y="3387"/>
                      </a:lnTo>
                      <a:lnTo>
                        <a:pt x="1274" y="3365"/>
                      </a:lnTo>
                      <a:lnTo>
                        <a:pt x="1178" y="3336"/>
                      </a:lnTo>
                      <a:lnTo>
                        <a:pt x="1083" y="3302"/>
                      </a:lnTo>
                      <a:lnTo>
                        <a:pt x="991" y="3262"/>
                      </a:lnTo>
                      <a:lnTo>
                        <a:pt x="901" y="3218"/>
                      </a:lnTo>
                      <a:lnTo>
                        <a:pt x="813" y="3166"/>
                      </a:lnTo>
                      <a:lnTo>
                        <a:pt x="728" y="3112"/>
                      </a:lnTo>
                      <a:lnTo>
                        <a:pt x="646" y="3049"/>
                      </a:lnTo>
                      <a:lnTo>
                        <a:pt x="567" y="2983"/>
                      </a:lnTo>
                      <a:lnTo>
                        <a:pt x="492" y="2911"/>
                      </a:lnTo>
                      <a:lnTo>
                        <a:pt x="421" y="2834"/>
                      </a:lnTo>
                      <a:lnTo>
                        <a:pt x="354" y="2751"/>
                      </a:lnTo>
                      <a:lnTo>
                        <a:pt x="290" y="2664"/>
                      </a:lnTo>
                      <a:lnTo>
                        <a:pt x="233" y="2573"/>
                      </a:lnTo>
                      <a:lnTo>
                        <a:pt x="183" y="2481"/>
                      </a:lnTo>
                      <a:lnTo>
                        <a:pt x="138" y="2386"/>
                      </a:lnTo>
                      <a:lnTo>
                        <a:pt x="101" y="2289"/>
                      </a:lnTo>
                      <a:lnTo>
                        <a:pt x="69" y="2192"/>
                      </a:lnTo>
                      <a:lnTo>
                        <a:pt x="42" y="2092"/>
                      </a:lnTo>
                      <a:lnTo>
                        <a:pt x="24" y="1992"/>
                      </a:lnTo>
                      <a:lnTo>
                        <a:pt x="10" y="1891"/>
                      </a:lnTo>
                      <a:lnTo>
                        <a:pt x="1" y="1790"/>
                      </a:lnTo>
                      <a:lnTo>
                        <a:pt x="0" y="1689"/>
                      </a:lnTo>
                      <a:lnTo>
                        <a:pt x="5" y="1588"/>
                      </a:lnTo>
                      <a:lnTo>
                        <a:pt x="15" y="1487"/>
                      </a:lnTo>
                      <a:lnTo>
                        <a:pt x="31" y="1388"/>
                      </a:lnTo>
                      <a:lnTo>
                        <a:pt x="52" y="1289"/>
                      </a:lnTo>
                      <a:lnTo>
                        <a:pt x="81" y="1192"/>
                      </a:lnTo>
                      <a:lnTo>
                        <a:pt x="113" y="1096"/>
                      </a:lnTo>
                      <a:lnTo>
                        <a:pt x="153" y="1003"/>
                      </a:lnTo>
                      <a:lnTo>
                        <a:pt x="198" y="910"/>
                      </a:lnTo>
                      <a:lnTo>
                        <a:pt x="249" y="822"/>
                      </a:lnTo>
                      <a:lnTo>
                        <a:pt x="305" y="735"/>
                      </a:lnTo>
                      <a:lnTo>
                        <a:pt x="366" y="651"/>
                      </a:lnTo>
                      <a:lnTo>
                        <a:pt x="434" y="571"/>
                      </a:lnTo>
                      <a:lnTo>
                        <a:pt x="507" y="495"/>
                      </a:lnTo>
                      <a:lnTo>
                        <a:pt x="586" y="422"/>
                      </a:lnTo>
                      <a:lnTo>
                        <a:pt x="669" y="353"/>
                      </a:lnTo>
                      <a:lnTo>
                        <a:pt x="757" y="291"/>
                      </a:lnTo>
                      <a:lnTo>
                        <a:pt x="848" y="234"/>
                      </a:lnTo>
                      <a:lnTo>
                        <a:pt x="940" y="184"/>
                      </a:lnTo>
                      <a:lnTo>
                        <a:pt x="1035" y="139"/>
                      </a:lnTo>
                      <a:lnTo>
                        <a:pt x="1132" y="100"/>
                      </a:lnTo>
                      <a:lnTo>
                        <a:pt x="1229" y="69"/>
                      </a:lnTo>
                      <a:lnTo>
                        <a:pt x="1329" y="43"/>
                      </a:lnTo>
                      <a:lnTo>
                        <a:pt x="1428" y="23"/>
                      </a:lnTo>
                      <a:lnTo>
                        <a:pt x="1529" y="9"/>
                      </a:lnTo>
                      <a:lnTo>
                        <a:pt x="1630" y="2"/>
                      </a:lnTo>
                      <a:lnTo>
                        <a:pt x="1731" y="0"/>
                      </a:lnTo>
                      <a:close/>
                    </a:path>
                  </a:pathLst>
                </a:custGeom>
                <a:solidFill>
                  <a:schemeClr val="accent5">
                    <a:lumMod val="50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</p:grpSp>
        </p:grpSp>
        <p:grpSp>
          <p:nvGrpSpPr>
            <p:cNvPr id="119" name="Группа 175"/>
            <p:cNvGrpSpPr/>
            <p:nvPr/>
          </p:nvGrpSpPr>
          <p:grpSpPr>
            <a:xfrm>
              <a:off x="5397716" y="975365"/>
              <a:ext cx="561482" cy="469123"/>
              <a:chOff x="5325801" y="1384662"/>
              <a:chExt cx="687404" cy="574332"/>
            </a:xfrm>
          </p:grpSpPr>
          <p:grpSp>
            <p:nvGrpSpPr>
              <p:cNvPr id="140" name="Группа 169"/>
              <p:cNvGrpSpPr/>
              <p:nvPr/>
            </p:nvGrpSpPr>
            <p:grpSpPr>
              <a:xfrm>
                <a:off x="5325801" y="1384662"/>
                <a:ext cx="687404" cy="574332"/>
                <a:chOff x="1155700" y="3098641"/>
                <a:chExt cx="1227616" cy="1025683"/>
              </a:xfrm>
            </p:grpSpPr>
            <p:sp>
              <p:nvSpPr>
                <p:cNvPr id="142" name="TextBox 141"/>
                <p:cNvSpPr txBox="1"/>
                <p:nvPr/>
              </p:nvSpPr>
              <p:spPr>
                <a:xfrm>
                  <a:off x="1155700" y="3098641"/>
                  <a:ext cx="946858" cy="853296"/>
                </a:xfrm>
                <a:prstGeom prst="hexagon">
                  <a:avLst/>
                </a:prstGeom>
                <a:ln w="17999">
                  <a:solidFill>
                    <a:schemeClr val="accent1">
                      <a:lumMod val="60000"/>
                      <a:lumOff val="40000"/>
                    </a:schemeClr>
                  </a:solidFill>
                  <a:prstDash val="dash"/>
                </a:ln>
              </p:spPr>
              <p:txBody>
                <a:bodyPr wrap="square" lIns="0" tIns="0" rIns="0" bIns="0" rtlCol="0"/>
                <a:lstStyle>
                  <a:defPPr>
                    <a:defRPr lang="ru-RU"/>
                  </a:defPPr>
                </a:lstStyle>
                <a:p>
                  <a:endParaRPr lang="en-US" sz="1400" dirty="0"/>
                </a:p>
              </p:txBody>
            </p:sp>
            <p:sp>
              <p:nvSpPr>
                <p:cNvPr id="143" name="TextBox 142"/>
                <p:cNvSpPr txBox="1"/>
                <p:nvPr/>
              </p:nvSpPr>
              <p:spPr>
                <a:xfrm>
                  <a:off x="1351842" y="3194774"/>
                  <a:ext cx="1031474" cy="929550"/>
                </a:xfrm>
                <a:prstGeom prst="hexagon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</p:spPr>
              <p:txBody>
                <a:bodyPr wrap="square" lIns="0" tIns="0" rIns="0" bIns="0" rtlCol="0"/>
                <a:lstStyle>
                  <a:defPPr>
                    <a:defRPr lang="ru-RU"/>
                  </a:defPPr>
                </a:lstStyle>
                <a:p>
                  <a:endParaRPr lang="en-US" sz="1400" dirty="0"/>
                </a:p>
              </p:txBody>
            </p:sp>
          </p:grpSp>
          <p:sp>
            <p:nvSpPr>
              <p:cNvPr id="141" name="Shape 2646"/>
              <p:cNvSpPr/>
              <p:nvPr/>
            </p:nvSpPr>
            <p:spPr>
              <a:xfrm>
                <a:off x="5583883" y="1581768"/>
                <a:ext cx="270095" cy="249408"/>
              </a:xfrm>
              <a:custGeom>
                <a:avLst/>
                <a:gdLst/>
                <a:ahLst/>
                <a:cxnLst>
                  <a:cxn ang="0">
                    <a:pos x="wd2" y="hd2"/>
                  </a:cxn>
                  <a:cxn ang="5400000">
                    <a:pos x="wd2" y="hd2"/>
                  </a:cxn>
                  <a:cxn ang="10800000">
                    <a:pos x="wd2" y="hd2"/>
                  </a:cxn>
                  <a:cxn ang="16200000">
                    <a:pos x="wd2" y="hd2"/>
                  </a:cxn>
                </a:cxnLst>
                <a:rect l="0" t="0" r="r" b="b"/>
                <a:pathLst>
                  <a:path w="21600" h="21600" extrusionOk="0">
                    <a:moveTo>
                      <a:pt x="20618" y="14727"/>
                    </a:moveTo>
                    <a:lnTo>
                      <a:pt x="982" y="14727"/>
                    </a:lnTo>
                    <a:lnTo>
                      <a:pt x="982" y="1964"/>
                    </a:lnTo>
                    <a:cubicBezTo>
                      <a:pt x="982" y="1422"/>
                      <a:pt x="1422" y="982"/>
                      <a:pt x="1964" y="982"/>
                    </a:cubicBezTo>
                    <a:lnTo>
                      <a:pt x="19636" y="982"/>
                    </a:lnTo>
                    <a:cubicBezTo>
                      <a:pt x="20178" y="982"/>
                      <a:pt x="20618" y="1422"/>
                      <a:pt x="20618" y="1964"/>
                    </a:cubicBezTo>
                    <a:cubicBezTo>
                      <a:pt x="20618" y="1964"/>
                      <a:pt x="20618" y="14727"/>
                      <a:pt x="20618" y="14727"/>
                    </a:cubicBezTo>
                    <a:close/>
                    <a:moveTo>
                      <a:pt x="20618" y="16691"/>
                    </a:moveTo>
                    <a:cubicBezTo>
                      <a:pt x="20618" y="17233"/>
                      <a:pt x="20178" y="17673"/>
                      <a:pt x="19636" y="17673"/>
                    </a:cubicBezTo>
                    <a:lnTo>
                      <a:pt x="1964" y="17673"/>
                    </a:lnTo>
                    <a:cubicBezTo>
                      <a:pt x="1422" y="17673"/>
                      <a:pt x="982" y="17233"/>
                      <a:pt x="982" y="16691"/>
                    </a:cubicBezTo>
                    <a:lnTo>
                      <a:pt x="982" y="15709"/>
                    </a:lnTo>
                    <a:lnTo>
                      <a:pt x="20618" y="15709"/>
                    </a:lnTo>
                    <a:cubicBezTo>
                      <a:pt x="20618" y="15709"/>
                      <a:pt x="20618" y="16691"/>
                      <a:pt x="20618" y="16691"/>
                    </a:cubicBezTo>
                    <a:close/>
                    <a:moveTo>
                      <a:pt x="11782" y="20618"/>
                    </a:moveTo>
                    <a:lnTo>
                      <a:pt x="9818" y="20618"/>
                    </a:lnTo>
                    <a:lnTo>
                      <a:pt x="9818" y="18655"/>
                    </a:lnTo>
                    <a:lnTo>
                      <a:pt x="11782" y="18655"/>
                    </a:lnTo>
                    <a:cubicBezTo>
                      <a:pt x="11782" y="18655"/>
                      <a:pt x="11782" y="20618"/>
                      <a:pt x="11782" y="20618"/>
                    </a:cubicBezTo>
                    <a:close/>
                    <a:moveTo>
                      <a:pt x="19636" y="0"/>
                    </a:moveTo>
                    <a:lnTo>
                      <a:pt x="1964" y="0"/>
                    </a:lnTo>
                    <a:cubicBezTo>
                      <a:pt x="879" y="0"/>
                      <a:pt x="0" y="879"/>
                      <a:pt x="0" y="1964"/>
                    </a:cubicBezTo>
                    <a:lnTo>
                      <a:pt x="0" y="16691"/>
                    </a:lnTo>
                    <a:cubicBezTo>
                      <a:pt x="0" y="17775"/>
                      <a:pt x="879" y="18655"/>
                      <a:pt x="1964" y="18655"/>
                    </a:cubicBezTo>
                    <a:lnTo>
                      <a:pt x="8836" y="18655"/>
                    </a:lnTo>
                    <a:lnTo>
                      <a:pt x="8836" y="20618"/>
                    </a:lnTo>
                    <a:lnTo>
                      <a:pt x="7364" y="20618"/>
                    </a:lnTo>
                    <a:cubicBezTo>
                      <a:pt x="7092" y="20618"/>
                      <a:pt x="6873" y="20838"/>
                      <a:pt x="6873" y="21109"/>
                    </a:cubicBezTo>
                    <a:cubicBezTo>
                      <a:pt x="6873" y="21381"/>
                      <a:pt x="7092" y="21600"/>
                      <a:pt x="7364" y="21600"/>
                    </a:cubicBezTo>
                    <a:lnTo>
                      <a:pt x="14236" y="21600"/>
                    </a:lnTo>
                    <a:cubicBezTo>
                      <a:pt x="14508" y="21600"/>
                      <a:pt x="14727" y="21381"/>
                      <a:pt x="14727" y="21109"/>
                    </a:cubicBezTo>
                    <a:cubicBezTo>
                      <a:pt x="14727" y="20838"/>
                      <a:pt x="14508" y="20618"/>
                      <a:pt x="14236" y="20618"/>
                    </a:cubicBezTo>
                    <a:lnTo>
                      <a:pt x="12764" y="20618"/>
                    </a:lnTo>
                    <a:lnTo>
                      <a:pt x="12764" y="18655"/>
                    </a:lnTo>
                    <a:lnTo>
                      <a:pt x="19636" y="18655"/>
                    </a:lnTo>
                    <a:cubicBezTo>
                      <a:pt x="20721" y="18655"/>
                      <a:pt x="21600" y="17775"/>
                      <a:pt x="21600" y="16691"/>
                    </a:cubicBezTo>
                    <a:lnTo>
                      <a:pt x="21600" y="1964"/>
                    </a:lnTo>
                    <a:cubicBezTo>
                      <a:pt x="21600" y="879"/>
                      <a:pt x="20721" y="0"/>
                      <a:pt x="19636" y="0"/>
                    </a:cubicBezTo>
                  </a:path>
                </a:pathLst>
              </a:custGeom>
              <a:solidFill>
                <a:schemeClr val="accent5">
                  <a:lumMod val="50000"/>
                </a:schemeClr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sz="1400">
                  <a:sym typeface="Gill Sans"/>
                </a:endParaRPr>
              </a:p>
            </p:txBody>
          </p:sp>
        </p:grpSp>
        <p:grpSp>
          <p:nvGrpSpPr>
            <p:cNvPr id="120" name="Группа 176"/>
            <p:cNvGrpSpPr/>
            <p:nvPr/>
          </p:nvGrpSpPr>
          <p:grpSpPr>
            <a:xfrm>
              <a:off x="5369856" y="1591362"/>
              <a:ext cx="561482" cy="469123"/>
              <a:chOff x="5199113" y="2850618"/>
              <a:chExt cx="687404" cy="574332"/>
            </a:xfrm>
          </p:grpSpPr>
          <p:grpSp>
            <p:nvGrpSpPr>
              <p:cNvPr id="121" name="Группа 172"/>
              <p:cNvGrpSpPr/>
              <p:nvPr/>
            </p:nvGrpSpPr>
            <p:grpSpPr>
              <a:xfrm>
                <a:off x="5199113" y="2850618"/>
                <a:ext cx="687404" cy="574332"/>
                <a:chOff x="1155700" y="3098641"/>
                <a:chExt cx="1227616" cy="1025683"/>
              </a:xfrm>
            </p:grpSpPr>
            <p:sp>
              <p:nvSpPr>
                <p:cNvPr id="138" name="TextBox 137"/>
                <p:cNvSpPr txBox="1"/>
                <p:nvPr/>
              </p:nvSpPr>
              <p:spPr>
                <a:xfrm>
                  <a:off x="1155700" y="3098641"/>
                  <a:ext cx="946858" cy="853296"/>
                </a:xfrm>
                <a:prstGeom prst="hexagon">
                  <a:avLst/>
                </a:prstGeom>
                <a:ln w="17999">
                  <a:solidFill>
                    <a:schemeClr val="accent1">
                      <a:lumMod val="60000"/>
                      <a:lumOff val="40000"/>
                    </a:schemeClr>
                  </a:solidFill>
                  <a:prstDash val="dash"/>
                </a:ln>
              </p:spPr>
              <p:txBody>
                <a:bodyPr wrap="square" lIns="0" tIns="0" rIns="0" bIns="0" rtlCol="0"/>
                <a:lstStyle>
                  <a:defPPr>
                    <a:defRPr lang="ru-RU"/>
                  </a:defPPr>
                </a:lstStyle>
                <a:p>
                  <a:endParaRPr lang="en-US" sz="1400" dirty="0"/>
                </a:p>
              </p:txBody>
            </p:sp>
            <p:sp>
              <p:nvSpPr>
                <p:cNvPr id="139" name="TextBox 138"/>
                <p:cNvSpPr txBox="1"/>
                <p:nvPr/>
              </p:nvSpPr>
              <p:spPr>
                <a:xfrm>
                  <a:off x="1351842" y="3194774"/>
                  <a:ext cx="1031474" cy="929550"/>
                </a:xfrm>
                <a:prstGeom prst="hexagon">
                  <a:avLst/>
                </a:prstGeom>
                <a:solidFill>
                  <a:schemeClr val="tx2">
                    <a:lumMod val="20000"/>
                    <a:lumOff val="80000"/>
                  </a:schemeClr>
                </a:solidFill>
              </p:spPr>
              <p:txBody>
                <a:bodyPr wrap="square" lIns="0" tIns="0" rIns="0" bIns="0" rtlCol="0"/>
                <a:lstStyle>
                  <a:defPPr>
                    <a:defRPr lang="ru-RU"/>
                  </a:defPPr>
                </a:lstStyle>
                <a:p>
                  <a:endParaRPr lang="en-US" sz="1400" dirty="0"/>
                </a:p>
              </p:txBody>
            </p:sp>
          </p:grpSp>
          <p:grpSp>
            <p:nvGrpSpPr>
              <p:cNvPr id="122" name="Group 20"/>
              <p:cNvGrpSpPr>
                <a:grpSpLocks noChangeAspect="1"/>
              </p:cNvGrpSpPr>
              <p:nvPr/>
            </p:nvGrpSpPr>
            <p:grpSpPr bwMode="auto">
              <a:xfrm>
                <a:off x="5438032" y="3015206"/>
                <a:ext cx="325617" cy="325617"/>
                <a:chOff x="-7155" y="-2795"/>
                <a:chExt cx="1551" cy="1551"/>
              </a:xfrm>
              <a:solidFill>
                <a:schemeClr val="bg1">
                  <a:lumMod val="75000"/>
                </a:schemeClr>
              </a:solidFill>
            </p:grpSpPr>
            <p:sp>
              <p:nvSpPr>
                <p:cNvPr id="123" name="Freeform 22"/>
                <p:cNvSpPr>
                  <a:spLocks noEditPoints="1"/>
                </p:cNvSpPr>
                <p:nvPr/>
              </p:nvSpPr>
              <p:spPr bwMode="auto">
                <a:xfrm>
                  <a:off x="-7155" y="-2795"/>
                  <a:ext cx="1551" cy="1551"/>
                </a:xfrm>
                <a:custGeom>
                  <a:avLst/>
                  <a:gdLst>
                    <a:gd name="T0" fmla="*/ 2552 w 4653"/>
                    <a:gd name="T1" fmla="*/ 4353 h 4653"/>
                    <a:gd name="T2" fmla="*/ 2852 w 4653"/>
                    <a:gd name="T3" fmla="*/ 4353 h 4653"/>
                    <a:gd name="T4" fmla="*/ 2852 w 4653"/>
                    <a:gd name="T5" fmla="*/ 4052 h 4653"/>
                    <a:gd name="T6" fmla="*/ 1504 w 4653"/>
                    <a:gd name="T7" fmla="*/ 3187 h 4653"/>
                    <a:gd name="T8" fmla="*/ 1846 w 4653"/>
                    <a:gd name="T9" fmla="*/ 3831 h 4653"/>
                    <a:gd name="T10" fmla="*/ 2868 w 4653"/>
                    <a:gd name="T11" fmla="*/ 3858 h 4653"/>
                    <a:gd name="T12" fmla="*/ 3150 w 4653"/>
                    <a:gd name="T13" fmla="*/ 3195 h 4653"/>
                    <a:gd name="T14" fmla="*/ 2680 w 4653"/>
                    <a:gd name="T15" fmla="*/ 3051 h 4653"/>
                    <a:gd name="T16" fmla="*/ 2565 w 4653"/>
                    <a:gd name="T17" fmla="*/ 3216 h 4653"/>
                    <a:gd name="T18" fmla="*/ 2380 w 4653"/>
                    <a:gd name="T19" fmla="*/ 3298 h 4653"/>
                    <a:gd name="T20" fmla="*/ 2327 w 4653"/>
                    <a:gd name="T21" fmla="*/ 3377 h 4653"/>
                    <a:gd name="T22" fmla="*/ 2149 w 4653"/>
                    <a:gd name="T23" fmla="*/ 3161 h 4653"/>
                    <a:gd name="T24" fmla="*/ 2028 w 4653"/>
                    <a:gd name="T25" fmla="*/ 2902 h 4653"/>
                    <a:gd name="T26" fmla="*/ 1801 w 4653"/>
                    <a:gd name="T27" fmla="*/ 2177 h 4653"/>
                    <a:gd name="T28" fmla="*/ 1743 w 4653"/>
                    <a:gd name="T29" fmla="*/ 1999 h 4653"/>
                    <a:gd name="T30" fmla="*/ 1596 w 4653"/>
                    <a:gd name="T31" fmla="*/ 1892 h 4653"/>
                    <a:gd name="T32" fmla="*/ 3752 w 4653"/>
                    <a:gd name="T33" fmla="*/ 2702 h 4653"/>
                    <a:gd name="T34" fmla="*/ 2208 w 4653"/>
                    <a:gd name="T35" fmla="*/ 2910 h 4653"/>
                    <a:gd name="T36" fmla="*/ 2312 w 4653"/>
                    <a:gd name="T37" fmla="*/ 3151 h 4653"/>
                    <a:gd name="T38" fmla="*/ 2441 w 4653"/>
                    <a:gd name="T39" fmla="*/ 3122 h 4653"/>
                    <a:gd name="T40" fmla="*/ 2538 w 4653"/>
                    <a:gd name="T41" fmla="*/ 3005 h 4653"/>
                    <a:gd name="T42" fmla="*/ 4127 w 4653"/>
                    <a:gd name="T43" fmla="*/ 2852 h 4653"/>
                    <a:gd name="T44" fmla="*/ 526 w 4653"/>
                    <a:gd name="T45" fmla="*/ 2852 h 4653"/>
                    <a:gd name="T46" fmla="*/ 901 w 4653"/>
                    <a:gd name="T47" fmla="*/ 526 h 4653"/>
                    <a:gd name="T48" fmla="*/ 1351 w 4653"/>
                    <a:gd name="T49" fmla="*/ 2552 h 4653"/>
                    <a:gd name="T50" fmla="*/ 1383 w 4653"/>
                    <a:gd name="T51" fmla="*/ 1782 h 4653"/>
                    <a:gd name="T52" fmla="*/ 1502 w 4653"/>
                    <a:gd name="T53" fmla="*/ 1726 h 4653"/>
                    <a:gd name="T54" fmla="*/ 1729 w 4653"/>
                    <a:gd name="T55" fmla="*/ 1788 h 4653"/>
                    <a:gd name="T56" fmla="*/ 1889 w 4653"/>
                    <a:gd name="T57" fmla="*/ 1949 h 4653"/>
                    <a:gd name="T58" fmla="*/ 1951 w 4653"/>
                    <a:gd name="T59" fmla="*/ 2177 h 4653"/>
                    <a:gd name="T60" fmla="*/ 2401 w 4653"/>
                    <a:gd name="T61" fmla="*/ 1426 h 4653"/>
                    <a:gd name="T62" fmla="*/ 2927 w 4653"/>
                    <a:gd name="T63" fmla="*/ 149 h 4653"/>
                    <a:gd name="T64" fmla="*/ 2680 w 4653"/>
                    <a:gd name="T65" fmla="*/ 212 h 4653"/>
                    <a:gd name="T66" fmla="*/ 2496 w 4653"/>
                    <a:gd name="T67" fmla="*/ 375 h 4653"/>
                    <a:gd name="T68" fmla="*/ 2405 w 4653"/>
                    <a:gd name="T69" fmla="*/ 609 h 4653"/>
                    <a:gd name="T70" fmla="*/ 2252 w 4653"/>
                    <a:gd name="T71" fmla="*/ 675 h 4653"/>
                    <a:gd name="T72" fmla="*/ 2190 w 4653"/>
                    <a:gd name="T73" fmla="*/ 429 h 4653"/>
                    <a:gd name="T74" fmla="*/ 2026 w 4653"/>
                    <a:gd name="T75" fmla="*/ 244 h 4653"/>
                    <a:gd name="T76" fmla="*/ 1792 w 4653"/>
                    <a:gd name="T77" fmla="*/ 154 h 4653"/>
                    <a:gd name="T78" fmla="*/ 1726 w 4653"/>
                    <a:gd name="T79" fmla="*/ 0 h 4653"/>
                    <a:gd name="T80" fmla="*/ 2018 w 4653"/>
                    <a:gd name="T81" fmla="*/ 66 h 4653"/>
                    <a:gd name="T82" fmla="*/ 2246 w 4653"/>
                    <a:gd name="T83" fmla="*/ 245 h 4653"/>
                    <a:gd name="T84" fmla="*/ 2407 w 4653"/>
                    <a:gd name="T85" fmla="*/ 245 h 4653"/>
                    <a:gd name="T86" fmla="*/ 2635 w 4653"/>
                    <a:gd name="T87" fmla="*/ 66 h 4653"/>
                    <a:gd name="T88" fmla="*/ 2927 w 4653"/>
                    <a:gd name="T89" fmla="*/ 0 h 4653"/>
                    <a:gd name="T90" fmla="*/ 4278 w 4653"/>
                    <a:gd name="T91" fmla="*/ 3002 h 4653"/>
                    <a:gd name="T92" fmla="*/ 3288 w 4653"/>
                    <a:gd name="T93" fmla="*/ 3267 h 4653"/>
                    <a:gd name="T94" fmla="*/ 3005 w 4653"/>
                    <a:gd name="T95" fmla="*/ 3935 h 4653"/>
                    <a:gd name="T96" fmla="*/ 4653 w 4653"/>
                    <a:gd name="T97" fmla="*/ 4653 h 4653"/>
                    <a:gd name="T98" fmla="*/ 1726 w 4653"/>
                    <a:gd name="T99" fmla="*/ 3980 h 4653"/>
                    <a:gd name="T100" fmla="*/ 1399 w 4653"/>
                    <a:gd name="T101" fmla="*/ 3332 h 4653"/>
                    <a:gd name="T102" fmla="*/ 1351 w 4653"/>
                    <a:gd name="T103" fmla="*/ 3150 h 4653"/>
                    <a:gd name="T104" fmla="*/ 901 w 4653"/>
                    <a:gd name="T105" fmla="*/ 375 h 46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4653" h="4653">
                      <a:moveTo>
                        <a:pt x="1877" y="4052"/>
                      </a:moveTo>
                      <a:lnTo>
                        <a:pt x="1877" y="4203"/>
                      </a:lnTo>
                      <a:lnTo>
                        <a:pt x="2552" y="4203"/>
                      </a:lnTo>
                      <a:lnTo>
                        <a:pt x="2552" y="4353"/>
                      </a:lnTo>
                      <a:lnTo>
                        <a:pt x="1877" y="4353"/>
                      </a:lnTo>
                      <a:lnTo>
                        <a:pt x="1877" y="4504"/>
                      </a:lnTo>
                      <a:lnTo>
                        <a:pt x="2852" y="4504"/>
                      </a:lnTo>
                      <a:lnTo>
                        <a:pt x="2852" y="4353"/>
                      </a:lnTo>
                      <a:lnTo>
                        <a:pt x="2702" y="4353"/>
                      </a:lnTo>
                      <a:lnTo>
                        <a:pt x="2702" y="4203"/>
                      </a:lnTo>
                      <a:lnTo>
                        <a:pt x="2852" y="4203"/>
                      </a:lnTo>
                      <a:lnTo>
                        <a:pt x="2852" y="4052"/>
                      </a:lnTo>
                      <a:lnTo>
                        <a:pt x="1877" y="4052"/>
                      </a:lnTo>
                      <a:close/>
                      <a:moveTo>
                        <a:pt x="1502" y="1877"/>
                      </a:moveTo>
                      <a:lnTo>
                        <a:pt x="1502" y="3150"/>
                      </a:lnTo>
                      <a:lnTo>
                        <a:pt x="1504" y="3187"/>
                      </a:lnTo>
                      <a:lnTo>
                        <a:pt x="1514" y="3225"/>
                      </a:lnTo>
                      <a:lnTo>
                        <a:pt x="1530" y="3259"/>
                      </a:lnTo>
                      <a:lnTo>
                        <a:pt x="1829" y="3799"/>
                      </a:lnTo>
                      <a:lnTo>
                        <a:pt x="1846" y="3831"/>
                      </a:lnTo>
                      <a:lnTo>
                        <a:pt x="1858" y="3866"/>
                      </a:lnTo>
                      <a:lnTo>
                        <a:pt x="1867" y="3903"/>
                      </a:lnTo>
                      <a:lnTo>
                        <a:pt x="2858" y="3903"/>
                      </a:lnTo>
                      <a:lnTo>
                        <a:pt x="2868" y="3858"/>
                      </a:lnTo>
                      <a:lnTo>
                        <a:pt x="2885" y="3814"/>
                      </a:lnTo>
                      <a:lnTo>
                        <a:pt x="3133" y="3254"/>
                      </a:lnTo>
                      <a:lnTo>
                        <a:pt x="3143" y="3225"/>
                      </a:lnTo>
                      <a:lnTo>
                        <a:pt x="3150" y="3195"/>
                      </a:lnTo>
                      <a:lnTo>
                        <a:pt x="3151" y="3164"/>
                      </a:lnTo>
                      <a:lnTo>
                        <a:pt x="3151" y="3002"/>
                      </a:lnTo>
                      <a:lnTo>
                        <a:pt x="2695" y="3002"/>
                      </a:lnTo>
                      <a:lnTo>
                        <a:pt x="2680" y="3051"/>
                      </a:lnTo>
                      <a:lnTo>
                        <a:pt x="2659" y="3099"/>
                      </a:lnTo>
                      <a:lnTo>
                        <a:pt x="2634" y="3143"/>
                      </a:lnTo>
                      <a:lnTo>
                        <a:pt x="2601" y="3181"/>
                      </a:lnTo>
                      <a:lnTo>
                        <a:pt x="2565" y="3216"/>
                      </a:lnTo>
                      <a:lnTo>
                        <a:pt x="2524" y="3246"/>
                      </a:lnTo>
                      <a:lnTo>
                        <a:pt x="2479" y="3270"/>
                      </a:lnTo>
                      <a:lnTo>
                        <a:pt x="2431" y="3287"/>
                      </a:lnTo>
                      <a:lnTo>
                        <a:pt x="2380" y="3298"/>
                      </a:lnTo>
                      <a:lnTo>
                        <a:pt x="2327" y="3302"/>
                      </a:lnTo>
                      <a:lnTo>
                        <a:pt x="2322" y="3302"/>
                      </a:lnTo>
                      <a:lnTo>
                        <a:pt x="2325" y="3339"/>
                      </a:lnTo>
                      <a:lnTo>
                        <a:pt x="2327" y="3377"/>
                      </a:lnTo>
                      <a:lnTo>
                        <a:pt x="2177" y="3377"/>
                      </a:lnTo>
                      <a:lnTo>
                        <a:pt x="2173" y="3304"/>
                      </a:lnTo>
                      <a:lnTo>
                        <a:pt x="2164" y="3232"/>
                      </a:lnTo>
                      <a:lnTo>
                        <a:pt x="2149" y="3161"/>
                      </a:lnTo>
                      <a:lnTo>
                        <a:pt x="2126" y="3092"/>
                      </a:lnTo>
                      <a:lnTo>
                        <a:pt x="2099" y="3026"/>
                      </a:lnTo>
                      <a:lnTo>
                        <a:pt x="2066" y="2962"/>
                      </a:lnTo>
                      <a:lnTo>
                        <a:pt x="2028" y="2902"/>
                      </a:lnTo>
                      <a:lnTo>
                        <a:pt x="1982" y="2844"/>
                      </a:lnTo>
                      <a:lnTo>
                        <a:pt x="1933" y="2790"/>
                      </a:lnTo>
                      <a:lnTo>
                        <a:pt x="1801" y="2658"/>
                      </a:lnTo>
                      <a:lnTo>
                        <a:pt x="1801" y="2177"/>
                      </a:lnTo>
                      <a:lnTo>
                        <a:pt x="1798" y="2128"/>
                      </a:lnTo>
                      <a:lnTo>
                        <a:pt x="1786" y="2081"/>
                      </a:lnTo>
                      <a:lnTo>
                        <a:pt x="1768" y="2039"/>
                      </a:lnTo>
                      <a:lnTo>
                        <a:pt x="1743" y="1999"/>
                      </a:lnTo>
                      <a:lnTo>
                        <a:pt x="1713" y="1964"/>
                      </a:lnTo>
                      <a:lnTo>
                        <a:pt x="1678" y="1935"/>
                      </a:lnTo>
                      <a:lnTo>
                        <a:pt x="1638" y="1909"/>
                      </a:lnTo>
                      <a:lnTo>
                        <a:pt x="1596" y="1892"/>
                      </a:lnTo>
                      <a:lnTo>
                        <a:pt x="1550" y="1880"/>
                      </a:lnTo>
                      <a:lnTo>
                        <a:pt x="1502" y="1877"/>
                      </a:lnTo>
                      <a:close/>
                      <a:moveTo>
                        <a:pt x="3752" y="526"/>
                      </a:moveTo>
                      <a:lnTo>
                        <a:pt x="3752" y="2702"/>
                      </a:lnTo>
                      <a:lnTo>
                        <a:pt x="2056" y="2702"/>
                      </a:lnTo>
                      <a:lnTo>
                        <a:pt x="2112" y="2768"/>
                      </a:lnTo>
                      <a:lnTo>
                        <a:pt x="2163" y="2837"/>
                      </a:lnTo>
                      <a:lnTo>
                        <a:pt x="2208" y="2910"/>
                      </a:lnTo>
                      <a:lnTo>
                        <a:pt x="2245" y="2986"/>
                      </a:lnTo>
                      <a:lnTo>
                        <a:pt x="2276" y="3067"/>
                      </a:lnTo>
                      <a:lnTo>
                        <a:pt x="2298" y="3149"/>
                      </a:lnTo>
                      <a:lnTo>
                        <a:pt x="2312" y="3151"/>
                      </a:lnTo>
                      <a:lnTo>
                        <a:pt x="2327" y="3151"/>
                      </a:lnTo>
                      <a:lnTo>
                        <a:pt x="2367" y="3149"/>
                      </a:lnTo>
                      <a:lnTo>
                        <a:pt x="2405" y="3137"/>
                      </a:lnTo>
                      <a:lnTo>
                        <a:pt x="2441" y="3122"/>
                      </a:lnTo>
                      <a:lnTo>
                        <a:pt x="2472" y="3099"/>
                      </a:lnTo>
                      <a:lnTo>
                        <a:pt x="2499" y="3072"/>
                      </a:lnTo>
                      <a:lnTo>
                        <a:pt x="2521" y="3040"/>
                      </a:lnTo>
                      <a:lnTo>
                        <a:pt x="2538" y="3005"/>
                      </a:lnTo>
                      <a:lnTo>
                        <a:pt x="2548" y="2967"/>
                      </a:lnTo>
                      <a:lnTo>
                        <a:pt x="2552" y="2927"/>
                      </a:lnTo>
                      <a:lnTo>
                        <a:pt x="2552" y="2852"/>
                      </a:lnTo>
                      <a:lnTo>
                        <a:pt x="4127" y="2852"/>
                      </a:lnTo>
                      <a:lnTo>
                        <a:pt x="4127" y="526"/>
                      </a:lnTo>
                      <a:lnTo>
                        <a:pt x="3752" y="526"/>
                      </a:lnTo>
                      <a:close/>
                      <a:moveTo>
                        <a:pt x="526" y="526"/>
                      </a:moveTo>
                      <a:lnTo>
                        <a:pt x="526" y="2852"/>
                      </a:lnTo>
                      <a:lnTo>
                        <a:pt x="1351" y="2852"/>
                      </a:lnTo>
                      <a:lnTo>
                        <a:pt x="1351" y="2702"/>
                      </a:lnTo>
                      <a:lnTo>
                        <a:pt x="901" y="2702"/>
                      </a:lnTo>
                      <a:lnTo>
                        <a:pt x="901" y="526"/>
                      </a:lnTo>
                      <a:lnTo>
                        <a:pt x="526" y="526"/>
                      </a:lnTo>
                      <a:close/>
                      <a:moveTo>
                        <a:pt x="1050" y="149"/>
                      </a:moveTo>
                      <a:lnTo>
                        <a:pt x="1050" y="2552"/>
                      </a:lnTo>
                      <a:lnTo>
                        <a:pt x="1351" y="2552"/>
                      </a:lnTo>
                      <a:lnTo>
                        <a:pt x="1351" y="1877"/>
                      </a:lnTo>
                      <a:lnTo>
                        <a:pt x="1355" y="1841"/>
                      </a:lnTo>
                      <a:lnTo>
                        <a:pt x="1366" y="1810"/>
                      </a:lnTo>
                      <a:lnTo>
                        <a:pt x="1383" y="1782"/>
                      </a:lnTo>
                      <a:lnTo>
                        <a:pt x="1407" y="1760"/>
                      </a:lnTo>
                      <a:lnTo>
                        <a:pt x="1435" y="1741"/>
                      </a:lnTo>
                      <a:lnTo>
                        <a:pt x="1466" y="1730"/>
                      </a:lnTo>
                      <a:lnTo>
                        <a:pt x="1502" y="1726"/>
                      </a:lnTo>
                      <a:lnTo>
                        <a:pt x="1562" y="1730"/>
                      </a:lnTo>
                      <a:lnTo>
                        <a:pt x="1620" y="1743"/>
                      </a:lnTo>
                      <a:lnTo>
                        <a:pt x="1676" y="1761"/>
                      </a:lnTo>
                      <a:lnTo>
                        <a:pt x="1729" y="1788"/>
                      </a:lnTo>
                      <a:lnTo>
                        <a:pt x="1777" y="1820"/>
                      </a:lnTo>
                      <a:lnTo>
                        <a:pt x="1819" y="1858"/>
                      </a:lnTo>
                      <a:lnTo>
                        <a:pt x="1857" y="1902"/>
                      </a:lnTo>
                      <a:lnTo>
                        <a:pt x="1889" y="1949"/>
                      </a:lnTo>
                      <a:lnTo>
                        <a:pt x="1916" y="2001"/>
                      </a:lnTo>
                      <a:lnTo>
                        <a:pt x="1935" y="2057"/>
                      </a:lnTo>
                      <a:lnTo>
                        <a:pt x="1947" y="2115"/>
                      </a:lnTo>
                      <a:lnTo>
                        <a:pt x="1951" y="2177"/>
                      </a:lnTo>
                      <a:lnTo>
                        <a:pt x="1951" y="2552"/>
                      </a:lnTo>
                      <a:lnTo>
                        <a:pt x="2252" y="2552"/>
                      </a:lnTo>
                      <a:lnTo>
                        <a:pt x="2252" y="1426"/>
                      </a:lnTo>
                      <a:lnTo>
                        <a:pt x="2401" y="1426"/>
                      </a:lnTo>
                      <a:lnTo>
                        <a:pt x="2401" y="2552"/>
                      </a:lnTo>
                      <a:lnTo>
                        <a:pt x="3603" y="2552"/>
                      </a:lnTo>
                      <a:lnTo>
                        <a:pt x="3603" y="149"/>
                      </a:lnTo>
                      <a:lnTo>
                        <a:pt x="2927" y="149"/>
                      </a:lnTo>
                      <a:lnTo>
                        <a:pt x="2861" y="154"/>
                      </a:lnTo>
                      <a:lnTo>
                        <a:pt x="2797" y="166"/>
                      </a:lnTo>
                      <a:lnTo>
                        <a:pt x="2737" y="186"/>
                      </a:lnTo>
                      <a:lnTo>
                        <a:pt x="2680" y="212"/>
                      </a:lnTo>
                      <a:lnTo>
                        <a:pt x="2627" y="244"/>
                      </a:lnTo>
                      <a:lnTo>
                        <a:pt x="2579" y="283"/>
                      </a:lnTo>
                      <a:lnTo>
                        <a:pt x="2534" y="327"/>
                      </a:lnTo>
                      <a:lnTo>
                        <a:pt x="2496" y="375"/>
                      </a:lnTo>
                      <a:lnTo>
                        <a:pt x="2463" y="429"/>
                      </a:lnTo>
                      <a:lnTo>
                        <a:pt x="2436" y="486"/>
                      </a:lnTo>
                      <a:lnTo>
                        <a:pt x="2418" y="546"/>
                      </a:lnTo>
                      <a:lnTo>
                        <a:pt x="2405" y="609"/>
                      </a:lnTo>
                      <a:lnTo>
                        <a:pt x="2401" y="675"/>
                      </a:lnTo>
                      <a:lnTo>
                        <a:pt x="2401" y="1276"/>
                      </a:lnTo>
                      <a:lnTo>
                        <a:pt x="2252" y="1276"/>
                      </a:lnTo>
                      <a:lnTo>
                        <a:pt x="2252" y="675"/>
                      </a:lnTo>
                      <a:lnTo>
                        <a:pt x="2248" y="609"/>
                      </a:lnTo>
                      <a:lnTo>
                        <a:pt x="2235" y="546"/>
                      </a:lnTo>
                      <a:lnTo>
                        <a:pt x="2217" y="486"/>
                      </a:lnTo>
                      <a:lnTo>
                        <a:pt x="2190" y="429"/>
                      </a:lnTo>
                      <a:lnTo>
                        <a:pt x="2157" y="375"/>
                      </a:lnTo>
                      <a:lnTo>
                        <a:pt x="2119" y="327"/>
                      </a:lnTo>
                      <a:lnTo>
                        <a:pt x="2074" y="283"/>
                      </a:lnTo>
                      <a:lnTo>
                        <a:pt x="2026" y="244"/>
                      </a:lnTo>
                      <a:lnTo>
                        <a:pt x="1973" y="212"/>
                      </a:lnTo>
                      <a:lnTo>
                        <a:pt x="1916" y="186"/>
                      </a:lnTo>
                      <a:lnTo>
                        <a:pt x="1856" y="166"/>
                      </a:lnTo>
                      <a:lnTo>
                        <a:pt x="1792" y="154"/>
                      </a:lnTo>
                      <a:lnTo>
                        <a:pt x="1726" y="149"/>
                      </a:lnTo>
                      <a:lnTo>
                        <a:pt x="1050" y="149"/>
                      </a:lnTo>
                      <a:close/>
                      <a:moveTo>
                        <a:pt x="901" y="0"/>
                      </a:moveTo>
                      <a:lnTo>
                        <a:pt x="1726" y="0"/>
                      </a:lnTo>
                      <a:lnTo>
                        <a:pt x="1803" y="4"/>
                      </a:lnTo>
                      <a:lnTo>
                        <a:pt x="1878" y="17"/>
                      </a:lnTo>
                      <a:lnTo>
                        <a:pt x="1950" y="38"/>
                      </a:lnTo>
                      <a:lnTo>
                        <a:pt x="2018" y="66"/>
                      </a:lnTo>
                      <a:lnTo>
                        <a:pt x="2083" y="102"/>
                      </a:lnTo>
                      <a:lnTo>
                        <a:pt x="2142" y="144"/>
                      </a:lnTo>
                      <a:lnTo>
                        <a:pt x="2197" y="192"/>
                      </a:lnTo>
                      <a:lnTo>
                        <a:pt x="2246" y="245"/>
                      </a:lnTo>
                      <a:lnTo>
                        <a:pt x="2290" y="303"/>
                      </a:lnTo>
                      <a:lnTo>
                        <a:pt x="2327" y="367"/>
                      </a:lnTo>
                      <a:lnTo>
                        <a:pt x="2363" y="303"/>
                      </a:lnTo>
                      <a:lnTo>
                        <a:pt x="2407" y="245"/>
                      </a:lnTo>
                      <a:lnTo>
                        <a:pt x="2456" y="192"/>
                      </a:lnTo>
                      <a:lnTo>
                        <a:pt x="2511" y="144"/>
                      </a:lnTo>
                      <a:lnTo>
                        <a:pt x="2570" y="102"/>
                      </a:lnTo>
                      <a:lnTo>
                        <a:pt x="2635" y="66"/>
                      </a:lnTo>
                      <a:lnTo>
                        <a:pt x="2703" y="38"/>
                      </a:lnTo>
                      <a:lnTo>
                        <a:pt x="2775" y="17"/>
                      </a:lnTo>
                      <a:lnTo>
                        <a:pt x="2850" y="4"/>
                      </a:lnTo>
                      <a:lnTo>
                        <a:pt x="2927" y="0"/>
                      </a:lnTo>
                      <a:lnTo>
                        <a:pt x="3752" y="0"/>
                      </a:lnTo>
                      <a:lnTo>
                        <a:pt x="3752" y="375"/>
                      </a:lnTo>
                      <a:lnTo>
                        <a:pt x="4278" y="375"/>
                      </a:lnTo>
                      <a:lnTo>
                        <a:pt x="4278" y="3002"/>
                      </a:lnTo>
                      <a:lnTo>
                        <a:pt x="3302" y="3002"/>
                      </a:lnTo>
                      <a:lnTo>
                        <a:pt x="3302" y="3164"/>
                      </a:lnTo>
                      <a:lnTo>
                        <a:pt x="3298" y="3216"/>
                      </a:lnTo>
                      <a:lnTo>
                        <a:pt x="3288" y="3267"/>
                      </a:lnTo>
                      <a:lnTo>
                        <a:pt x="3270" y="3316"/>
                      </a:lnTo>
                      <a:lnTo>
                        <a:pt x="3022" y="3875"/>
                      </a:lnTo>
                      <a:lnTo>
                        <a:pt x="3010" y="3904"/>
                      </a:lnTo>
                      <a:lnTo>
                        <a:pt x="3005" y="3935"/>
                      </a:lnTo>
                      <a:lnTo>
                        <a:pt x="3002" y="3966"/>
                      </a:lnTo>
                      <a:lnTo>
                        <a:pt x="3002" y="4504"/>
                      </a:lnTo>
                      <a:lnTo>
                        <a:pt x="4653" y="4504"/>
                      </a:lnTo>
                      <a:lnTo>
                        <a:pt x="4653" y="4653"/>
                      </a:lnTo>
                      <a:lnTo>
                        <a:pt x="0" y="4653"/>
                      </a:lnTo>
                      <a:lnTo>
                        <a:pt x="0" y="4504"/>
                      </a:lnTo>
                      <a:lnTo>
                        <a:pt x="1726" y="4504"/>
                      </a:lnTo>
                      <a:lnTo>
                        <a:pt x="1726" y="3980"/>
                      </a:lnTo>
                      <a:lnTo>
                        <a:pt x="1723" y="3942"/>
                      </a:lnTo>
                      <a:lnTo>
                        <a:pt x="1713" y="3906"/>
                      </a:lnTo>
                      <a:lnTo>
                        <a:pt x="1698" y="3870"/>
                      </a:lnTo>
                      <a:lnTo>
                        <a:pt x="1399" y="3332"/>
                      </a:lnTo>
                      <a:lnTo>
                        <a:pt x="1378" y="3288"/>
                      </a:lnTo>
                      <a:lnTo>
                        <a:pt x="1363" y="3243"/>
                      </a:lnTo>
                      <a:lnTo>
                        <a:pt x="1354" y="3196"/>
                      </a:lnTo>
                      <a:lnTo>
                        <a:pt x="1351" y="3150"/>
                      </a:lnTo>
                      <a:lnTo>
                        <a:pt x="1351" y="3002"/>
                      </a:lnTo>
                      <a:lnTo>
                        <a:pt x="375" y="3002"/>
                      </a:lnTo>
                      <a:lnTo>
                        <a:pt x="375" y="375"/>
                      </a:lnTo>
                      <a:lnTo>
                        <a:pt x="901" y="375"/>
                      </a:lnTo>
                      <a:lnTo>
                        <a:pt x="901" y="0"/>
                      </a:lnTo>
                      <a:close/>
                    </a:path>
                  </a:pathLst>
                </a:custGeom>
                <a:solidFill>
                  <a:schemeClr val="accent5">
                    <a:lumMod val="50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24" name="Rectangle 23"/>
                <p:cNvSpPr>
                  <a:spLocks noChangeArrowheads="1"/>
                </p:cNvSpPr>
                <p:nvPr/>
              </p:nvSpPr>
              <p:spPr bwMode="auto">
                <a:xfrm>
                  <a:off x="-6179" y="-2145"/>
                  <a:ext cx="50" cy="50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25" name="Rectangle 24"/>
                <p:cNvSpPr>
                  <a:spLocks noChangeArrowheads="1"/>
                </p:cNvSpPr>
                <p:nvPr/>
              </p:nvSpPr>
              <p:spPr bwMode="auto">
                <a:xfrm>
                  <a:off x="-6079" y="-2145"/>
                  <a:ext cx="50" cy="50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26" name="Rectangle 25"/>
                <p:cNvSpPr>
                  <a:spLocks noChangeArrowheads="1"/>
                </p:cNvSpPr>
                <p:nvPr/>
              </p:nvSpPr>
              <p:spPr bwMode="auto">
                <a:xfrm>
                  <a:off x="-6279" y="-2145"/>
                  <a:ext cx="49" cy="50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27" name="Rectangle 26"/>
                <p:cNvSpPr>
                  <a:spLocks noChangeArrowheads="1"/>
                </p:cNvSpPr>
                <p:nvPr/>
              </p:nvSpPr>
              <p:spPr bwMode="auto">
                <a:xfrm>
                  <a:off x="-6304" y="-2044"/>
                  <a:ext cx="300" cy="49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28" name="Rectangle 27"/>
                <p:cNvSpPr>
                  <a:spLocks noChangeArrowheads="1"/>
                </p:cNvSpPr>
                <p:nvPr/>
              </p:nvSpPr>
              <p:spPr bwMode="auto">
                <a:xfrm>
                  <a:off x="-6304" y="-2245"/>
                  <a:ext cx="300" cy="50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29" name="Rectangle 28"/>
                <p:cNvSpPr>
                  <a:spLocks noChangeArrowheads="1"/>
                </p:cNvSpPr>
                <p:nvPr/>
              </p:nvSpPr>
              <p:spPr bwMode="auto">
                <a:xfrm>
                  <a:off x="-6304" y="-2420"/>
                  <a:ext cx="300" cy="50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30" name="Rectangle 29"/>
                <p:cNvSpPr>
                  <a:spLocks noChangeArrowheads="1"/>
                </p:cNvSpPr>
                <p:nvPr/>
              </p:nvSpPr>
              <p:spPr bwMode="auto">
                <a:xfrm>
                  <a:off x="-6304" y="-2520"/>
                  <a:ext cx="300" cy="50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31" name="Rectangle 30"/>
                <p:cNvSpPr>
                  <a:spLocks noChangeArrowheads="1"/>
                </p:cNvSpPr>
                <p:nvPr/>
              </p:nvSpPr>
              <p:spPr bwMode="auto">
                <a:xfrm>
                  <a:off x="-6304" y="-2620"/>
                  <a:ext cx="300" cy="50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32" name="Rectangle 31"/>
                <p:cNvSpPr>
                  <a:spLocks noChangeArrowheads="1"/>
                </p:cNvSpPr>
                <p:nvPr/>
              </p:nvSpPr>
              <p:spPr bwMode="auto">
                <a:xfrm>
                  <a:off x="-6630" y="-2520"/>
                  <a:ext cx="50" cy="50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33" name="Rectangle 32"/>
                <p:cNvSpPr>
                  <a:spLocks noChangeArrowheads="1"/>
                </p:cNvSpPr>
                <p:nvPr/>
              </p:nvSpPr>
              <p:spPr bwMode="auto">
                <a:xfrm>
                  <a:off x="-6529" y="-2520"/>
                  <a:ext cx="49" cy="50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34" name="Rectangle 33"/>
                <p:cNvSpPr>
                  <a:spLocks noChangeArrowheads="1"/>
                </p:cNvSpPr>
                <p:nvPr/>
              </p:nvSpPr>
              <p:spPr bwMode="auto">
                <a:xfrm>
                  <a:off x="-6730" y="-2520"/>
                  <a:ext cx="50" cy="50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35" name="Rectangle 34"/>
                <p:cNvSpPr>
                  <a:spLocks noChangeArrowheads="1"/>
                </p:cNvSpPr>
                <p:nvPr/>
              </p:nvSpPr>
              <p:spPr bwMode="auto">
                <a:xfrm>
                  <a:off x="-6755" y="-2620"/>
                  <a:ext cx="300" cy="50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36" name="Rectangle 35"/>
                <p:cNvSpPr>
                  <a:spLocks noChangeArrowheads="1"/>
                </p:cNvSpPr>
                <p:nvPr/>
              </p:nvSpPr>
              <p:spPr bwMode="auto">
                <a:xfrm>
                  <a:off x="-6755" y="-2420"/>
                  <a:ext cx="300" cy="50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  <p:sp>
              <p:nvSpPr>
                <p:cNvPr id="137" name="Rectangle 36"/>
                <p:cNvSpPr>
                  <a:spLocks noChangeArrowheads="1"/>
                </p:cNvSpPr>
                <p:nvPr/>
              </p:nvSpPr>
              <p:spPr bwMode="auto">
                <a:xfrm>
                  <a:off x="-6755" y="-2320"/>
                  <a:ext cx="300" cy="50"/>
                </a:xfrm>
                <a:prstGeom prst="rect">
                  <a:avLst/>
                </a:prstGeom>
                <a:solidFill>
                  <a:schemeClr val="accent5">
                    <a:lumMod val="50000"/>
                  </a:schemeClr>
                </a:solidFill>
                <a:ln w="0">
                  <a:noFill/>
                  <a:prstDash val="solid"/>
                  <a:round/>
                  <a:headEnd/>
                  <a:tailEnd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endParaRPr lang="ru-RU" sz="1400"/>
                </a:p>
              </p:txBody>
            </p:sp>
          </p:grpSp>
        </p:grpSp>
      </p:grpSp>
      <p:cxnSp>
        <p:nvCxnSpPr>
          <p:cNvPr id="162" name="Прямая соединительная линия 161"/>
          <p:cNvCxnSpPr/>
          <p:nvPr/>
        </p:nvCxnSpPr>
        <p:spPr>
          <a:xfrm>
            <a:off x="2410135" y="3839757"/>
            <a:ext cx="5771847" cy="0"/>
          </a:xfrm>
          <a:prstGeom prst="line">
            <a:avLst/>
          </a:prstGeom>
          <a:ln w="17999">
            <a:solidFill>
              <a:schemeClr val="accent1">
                <a:lumMod val="60000"/>
                <a:lumOff val="40000"/>
              </a:schemeClr>
            </a:solidFill>
            <a:prstDash val="dash"/>
          </a:ln>
        </p:spPr>
      </p:cxnSp>
      <p:sp>
        <p:nvSpPr>
          <p:cNvPr id="163" name="TextBox 162"/>
          <p:cNvSpPr txBox="1"/>
          <p:nvPr/>
        </p:nvSpPr>
        <p:spPr>
          <a:xfrm>
            <a:off x="4007768" y="3284984"/>
            <a:ext cx="3930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2</a:t>
            </a:r>
            <a:endParaRPr lang="ru-RU" sz="3200" b="1" dirty="0"/>
          </a:p>
        </p:txBody>
      </p:sp>
      <p:sp>
        <p:nvSpPr>
          <p:cNvPr id="164" name="TextBox 163"/>
          <p:cNvSpPr txBox="1"/>
          <p:nvPr/>
        </p:nvSpPr>
        <p:spPr>
          <a:xfrm>
            <a:off x="7032104" y="3284984"/>
            <a:ext cx="3930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3</a:t>
            </a:r>
            <a:endParaRPr lang="ru-RU" sz="3200" b="1" dirty="0"/>
          </a:p>
        </p:txBody>
      </p:sp>
      <p:sp>
        <p:nvSpPr>
          <p:cNvPr id="165" name="TextBox 164"/>
          <p:cNvSpPr txBox="1"/>
          <p:nvPr/>
        </p:nvSpPr>
        <p:spPr>
          <a:xfrm>
            <a:off x="983432" y="3284984"/>
            <a:ext cx="3930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1</a:t>
            </a:r>
            <a:endParaRPr lang="ru-RU" sz="3200" b="1" dirty="0"/>
          </a:p>
        </p:txBody>
      </p:sp>
      <p:grpSp>
        <p:nvGrpSpPr>
          <p:cNvPr id="166" name="Группа 7"/>
          <p:cNvGrpSpPr/>
          <p:nvPr/>
        </p:nvGrpSpPr>
        <p:grpSpPr>
          <a:xfrm>
            <a:off x="1199456" y="3284982"/>
            <a:ext cx="10441160" cy="1850176"/>
            <a:chOff x="2292698" y="2455984"/>
            <a:chExt cx="7477179" cy="1444335"/>
          </a:xfrm>
        </p:grpSpPr>
        <p:grpSp>
          <p:nvGrpSpPr>
            <p:cNvPr id="167" name="Группа 2"/>
            <p:cNvGrpSpPr/>
            <p:nvPr/>
          </p:nvGrpSpPr>
          <p:grpSpPr>
            <a:xfrm>
              <a:off x="2435501" y="2455984"/>
              <a:ext cx="1792059" cy="576805"/>
              <a:chOff x="2326338" y="2963284"/>
              <a:chExt cx="1792059" cy="667669"/>
            </a:xfrm>
          </p:grpSpPr>
          <p:sp>
            <p:nvSpPr>
              <p:cNvPr id="178" name="Freeform 338"/>
              <p:cNvSpPr>
                <a:spLocks/>
              </p:cNvSpPr>
              <p:nvPr/>
            </p:nvSpPr>
            <p:spPr bwMode="auto">
              <a:xfrm>
                <a:off x="2326338" y="3028357"/>
                <a:ext cx="1742047" cy="602596"/>
              </a:xfrm>
              <a:custGeom>
                <a:avLst/>
                <a:gdLst>
                  <a:gd name="T0" fmla="*/ 135 w 1900"/>
                  <a:gd name="T1" fmla="*/ 0 h 340"/>
                  <a:gd name="T2" fmla="*/ 1900 w 1900"/>
                  <a:gd name="T3" fmla="*/ 0 h 340"/>
                  <a:gd name="T4" fmla="*/ 1765 w 1900"/>
                  <a:gd name="T5" fmla="*/ 340 h 340"/>
                  <a:gd name="T6" fmla="*/ 0 w 1900"/>
                  <a:gd name="T7" fmla="*/ 340 h 340"/>
                  <a:gd name="T8" fmla="*/ 135 w 1900"/>
                  <a:gd name="T9" fmla="*/ 0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900" h="340">
                    <a:moveTo>
                      <a:pt x="135" y="0"/>
                    </a:moveTo>
                    <a:lnTo>
                      <a:pt x="1900" y="0"/>
                    </a:lnTo>
                    <a:lnTo>
                      <a:pt x="1765" y="340"/>
                    </a:lnTo>
                    <a:lnTo>
                      <a:pt x="0" y="340"/>
                    </a:lnTo>
                    <a:lnTo>
                      <a:pt x="135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000"/>
              </a:p>
            </p:txBody>
          </p:sp>
          <p:sp>
            <p:nvSpPr>
              <p:cNvPr id="179" name="Прямоугольник 60"/>
              <p:cNvSpPr/>
              <p:nvPr/>
            </p:nvSpPr>
            <p:spPr>
              <a:xfrm>
                <a:off x="2395653" y="2963284"/>
                <a:ext cx="1722744" cy="667473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r>
                  <a:rPr lang="ru-RU" sz="1400" b="1" dirty="0"/>
                  <a:t>Условия:</a:t>
                </a:r>
                <a:endParaRPr lang="ru-RU" sz="1400" b="1" i="1" dirty="0"/>
              </a:p>
              <a:p>
                <a:r>
                  <a:rPr lang="ru-RU" sz="1400" b="1" dirty="0" smtClean="0"/>
                  <a:t>действующие/</a:t>
                </a:r>
                <a:br>
                  <a:rPr lang="ru-RU" sz="1400" b="1" dirty="0" smtClean="0"/>
                </a:br>
                <a:r>
                  <a:rPr lang="ru-RU" sz="1400" b="1" dirty="0" smtClean="0"/>
                  <a:t>нормативные</a:t>
                </a:r>
                <a:endParaRPr lang="ru-RU" sz="1400" b="1" dirty="0"/>
              </a:p>
            </p:txBody>
          </p:sp>
        </p:grpSp>
        <p:sp>
          <p:nvSpPr>
            <p:cNvPr id="168" name="Прямоугольник 167"/>
            <p:cNvSpPr/>
            <p:nvPr/>
          </p:nvSpPr>
          <p:spPr>
            <a:xfrm>
              <a:off x="2398757" y="3074327"/>
              <a:ext cx="1847729" cy="63670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lvl="0" indent="-171450">
                <a:spcBef>
                  <a:spcPts val="300"/>
                </a:spcBef>
                <a:buClr>
                  <a:srgbClr val="0070C0"/>
                </a:buClr>
                <a:buSzPct val="170000"/>
                <a:buFont typeface="Wingdings" pitchFamily="2" charset="2"/>
                <a:buChar char="§"/>
              </a:pPr>
              <a:r>
                <a:rPr lang="ru-RU" sz="1400" dirty="0" smtClean="0"/>
                <a:t>Финансовые</a:t>
              </a:r>
            </a:p>
            <a:p>
              <a:pPr marL="171450" lvl="0" indent="-171450">
                <a:spcBef>
                  <a:spcPts val="300"/>
                </a:spcBef>
                <a:buClr>
                  <a:srgbClr val="0070C0"/>
                </a:buClr>
                <a:buSzPct val="170000"/>
                <a:buFont typeface="Wingdings" pitchFamily="2" charset="2"/>
                <a:buChar char="§"/>
              </a:pPr>
              <a:r>
                <a:rPr lang="ru-RU" sz="1400" dirty="0" smtClean="0"/>
                <a:t>Материально технические </a:t>
              </a:r>
              <a:endParaRPr lang="ru-RU" sz="1400" dirty="0"/>
            </a:p>
            <a:p>
              <a:pPr marL="171450" lvl="0" indent="-171450">
                <a:spcBef>
                  <a:spcPts val="300"/>
                </a:spcBef>
                <a:buClr>
                  <a:srgbClr val="0070C0"/>
                </a:buClr>
                <a:buSzPct val="170000"/>
                <a:buFont typeface="Wingdings" pitchFamily="2" charset="2"/>
                <a:buChar char="§"/>
              </a:pPr>
              <a:r>
                <a:rPr lang="ru-RU" sz="1400" dirty="0" smtClean="0"/>
                <a:t>Кадровые</a:t>
              </a:r>
              <a:endParaRPr lang="ru-RU" sz="1400" dirty="0"/>
            </a:p>
          </p:txBody>
        </p:sp>
        <p:grpSp>
          <p:nvGrpSpPr>
            <p:cNvPr id="169" name="Группа 3"/>
            <p:cNvGrpSpPr/>
            <p:nvPr/>
          </p:nvGrpSpPr>
          <p:grpSpPr>
            <a:xfrm>
              <a:off x="4604461" y="2512199"/>
              <a:ext cx="1863301" cy="520588"/>
              <a:chOff x="4495298" y="3028355"/>
              <a:chExt cx="1863301" cy="602596"/>
            </a:xfrm>
          </p:grpSpPr>
          <p:sp>
            <p:nvSpPr>
              <p:cNvPr id="176" name="Freeform 337"/>
              <p:cNvSpPr>
                <a:spLocks/>
              </p:cNvSpPr>
              <p:nvPr/>
            </p:nvSpPr>
            <p:spPr bwMode="auto">
              <a:xfrm>
                <a:off x="4495298" y="3028355"/>
                <a:ext cx="1716337" cy="602596"/>
              </a:xfrm>
              <a:custGeom>
                <a:avLst/>
                <a:gdLst>
                  <a:gd name="T0" fmla="*/ 136 w 1897"/>
                  <a:gd name="T1" fmla="*/ 0 h 340"/>
                  <a:gd name="T2" fmla="*/ 1897 w 1897"/>
                  <a:gd name="T3" fmla="*/ 0 h 340"/>
                  <a:gd name="T4" fmla="*/ 1762 w 1897"/>
                  <a:gd name="T5" fmla="*/ 340 h 340"/>
                  <a:gd name="T6" fmla="*/ 0 w 1897"/>
                  <a:gd name="T7" fmla="*/ 340 h 340"/>
                  <a:gd name="T8" fmla="*/ 136 w 1897"/>
                  <a:gd name="T9" fmla="*/ 0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897" h="340">
                    <a:moveTo>
                      <a:pt x="136" y="0"/>
                    </a:moveTo>
                    <a:lnTo>
                      <a:pt x="1897" y="0"/>
                    </a:lnTo>
                    <a:lnTo>
                      <a:pt x="1762" y="340"/>
                    </a:lnTo>
                    <a:lnTo>
                      <a:pt x="0" y="340"/>
                    </a:lnTo>
                    <a:lnTo>
                      <a:pt x="136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000"/>
              </a:p>
            </p:txBody>
          </p:sp>
          <p:sp>
            <p:nvSpPr>
              <p:cNvPr id="177" name="Прямоугольник 176"/>
              <p:cNvSpPr/>
              <p:nvPr/>
            </p:nvSpPr>
            <p:spPr>
              <a:xfrm>
                <a:off x="4609269" y="3103388"/>
                <a:ext cx="1749330" cy="452529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/>
                <a:r>
                  <a:rPr lang="ru-RU" sz="800" b="1" dirty="0"/>
                  <a:t>Определение</a:t>
                </a:r>
              </a:p>
              <a:p>
                <a:pPr lvl="0"/>
                <a:r>
                  <a:rPr lang="ru-RU" sz="800" b="1" dirty="0"/>
                  <a:t>и </a:t>
                </a:r>
                <a:r>
                  <a:rPr lang="ru-RU" sz="800" b="1" dirty="0" smtClean="0"/>
                  <a:t>локализация дефицитов </a:t>
                </a:r>
                <a:endParaRPr lang="ru-RU" sz="800" b="1" dirty="0"/>
              </a:p>
            </p:txBody>
          </p:sp>
        </p:grpSp>
        <p:sp>
          <p:nvSpPr>
            <p:cNvPr id="170" name="Прямоугольник 169"/>
            <p:cNvSpPr/>
            <p:nvPr/>
          </p:nvSpPr>
          <p:spPr>
            <a:xfrm>
              <a:off x="4679032" y="3074327"/>
              <a:ext cx="1456915" cy="60461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indent="-171450">
                <a:lnSpc>
                  <a:spcPts val="1000"/>
                </a:lnSpc>
                <a:spcBef>
                  <a:spcPts val="300"/>
                </a:spcBef>
                <a:buClr>
                  <a:srgbClr val="0070C0"/>
                </a:buClr>
                <a:buSzPct val="170000"/>
                <a:buFont typeface="Wingdings" pitchFamily="2" charset="2"/>
                <a:buChar char="§"/>
              </a:pPr>
              <a:r>
                <a:rPr lang="ru-RU" sz="1400" dirty="0"/>
                <a:t>в разрезе муниципалитетов и ОО</a:t>
              </a:r>
            </a:p>
            <a:p>
              <a:pPr marL="285750" indent="-285750">
                <a:lnSpc>
                  <a:spcPts val="1000"/>
                </a:lnSpc>
                <a:spcBef>
                  <a:spcPts val="1200"/>
                </a:spcBef>
                <a:buClr>
                  <a:srgbClr val="0070C0"/>
                </a:buClr>
                <a:buSzPct val="170000"/>
                <a:buFont typeface="Wingdings" pitchFamily="2" charset="2"/>
                <a:buChar char="§"/>
              </a:pPr>
              <a:endParaRPr lang="ru-RU" sz="1400" dirty="0"/>
            </a:p>
          </p:txBody>
        </p:sp>
        <p:grpSp>
          <p:nvGrpSpPr>
            <p:cNvPr id="171" name="Группа 4"/>
            <p:cNvGrpSpPr/>
            <p:nvPr/>
          </p:nvGrpSpPr>
          <p:grpSpPr>
            <a:xfrm>
              <a:off x="6803164" y="2512199"/>
              <a:ext cx="1982487" cy="544125"/>
              <a:chOff x="6724480" y="3028357"/>
              <a:chExt cx="1982487" cy="629841"/>
            </a:xfrm>
          </p:grpSpPr>
          <p:sp>
            <p:nvSpPr>
              <p:cNvPr id="174" name="Freeform 343"/>
              <p:cNvSpPr>
                <a:spLocks/>
              </p:cNvSpPr>
              <p:nvPr/>
            </p:nvSpPr>
            <p:spPr bwMode="auto">
              <a:xfrm>
                <a:off x="6724480" y="3028357"/>
                <a:ext cx="1982487" cy="602596"/>
              </a:xfrm>
              <a:custGeom>
                <a:avLst/>
                <a:gdLst>
                  <a:gd name="T0" fmla="*/ 135 w 1753"/>
                  <a:gd name="T1" fmla="*/ 0 h 340"/>
                  <a:gd name="T2" fmla="*/ 1753 w 1753"/>
                  <a:gd name="T3" fmla="*/ 0 h 340"/>
                  <a:gd name="T4" fmla="*/ 1614 w 1753"/>
                  <a:gd name="T5" fmla="*/ 340 h 340"/>
                  <a:gd name="T6" fmla="*/ 0 w 1753"/>
                  <a:gd name="T7" fmla="*/ 340 h 340"/>
                  <a:gd name="T8" fmla="*/ 135 w 1753"/>
                  <a:gd name="T9" fmla="*/ 0 h 3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1753" h="340">
                    <a:moveTo>
                      <a:pt x="135" y="0"/>
                    </a:moveTo>
                    <a:lnTo>
                      <a:pt x="1753" y="0"/>
                    </a:lnTo>
                    <a:lnTo>
                      <a:pt x="1614" y="340"/>
                    </a:lnTo>
                    <a:lnTo>
                      <a:pt x="0" y="340"/>
                    </a:lnTo>
                    <a:lnTo>
                      <a:pt x="135" y="0"/>
                    </a:lnTo>
                    <a:close/>
                  </a:path>
                </a:pathLst>
              </a:custGeom>
              <a:solidFill>
                <a:schemeClr val="accent2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1000"/>
              </a:p>
            </p:txBody>
          </p:sp>
          <p:sp>
            <p:nvSpPr>
              <p:cNvPr id="175" name="Прямоугольник 174"/>
              <p:cNvSpPr/>
              <p:nvPr/>
            </p:nvSpPr>
            <p:spPr>
              <a:xfrm>
                <a:off x="6855861" y="3041113"/>
                <a:ext cx="1627156" cy="617085"/>
              </a:xfrm>
              <a:prstGeom prst="rect">
                <a:avLst/>
              </a:prstGeom>
            </p:spPr>
            <p:txBody>
              <a:bodyPr wrap="square">
                <a:spAutoFit/>
              </a:bodyPr>
              <a:lstStyle/>
              <a:p>
                <a:pPr lvl="0"/>
                <a:r>
                  <a:rPr lang="ru-RU" sz="800" b="1" dirty="0"/>
                  <a:t>Планирование подготовки и перехода на обновленные ФГОС</a:t>
                </a:r>
              </a:p>
            </p:txBody>
          </p:sp>
        </p:grpSp>
        <p:sp>
          <p:nvSpPr>
            <p:cNvPr id="172" name="Прямоугольник 171"/>
            <p:cNvSpPr/>
            <p:nvPr/>
          </p:nvSpPr>
          <p:spPr>
            <a:xfrm>
              <a:off x="6587175" y="3038391"/>
              <a:ext cx="3182702" cy="84488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71450" lvl="0" indent="-171450">
                <a:lnSpc>
                  <a:spcPts val="1000"/>
                </a:lnSpc>
                <a:spcBef>
                  <a:spcPts val="300"/>
                </a:spcBef>
                <a:buClr>
                  <a:srgbClr val="0070C0"/>
                </a:buClr>
                <a:buSzPct val="170000"/>
                <a:buFont typeface="Wingdings" pitchFamily="2" charset="2"/>
                <a:buChar char="§"/>
              </a:pPr>
              <a:r>
                <a:rPr lang="ru-RU" sz="1400" dirty="0"/>
                <a:t>Изменение НПА по бюджетному финансированию реализации ООП</a:t>
              </a:r>
            </a:p>
            <a:p>
              <a:pPr marL="171450" lvl="0" indent="-171450">
                <a:lnSpc>
                  <a:spcPts val="1000"/>
                </a:lnSpc>
                <a:spcBef>
                  <a:spcPts val="300"/>
                </a:spcBef>
                <a:buClr>
                  <a:srgbClr val="0070C0"/>
                </a:buClr>
                <a:buSzPct val="170000"/>
                <a:buFont typeface="Wingdings" pitchFamily="2" charset="2"/>
                <a:buChar char="§"/>
              </a:pPr>
              <a:r>
                <a:rPr lang="ru-RU" sz="1400" dirty="0"/>
                <a:t>Корректировка системы мероприятий государственных программ «Развития образования»</a:t>
              </a:r>
            </a:p>
            <a:p>
              <a:pPr marL="171450" lvl="0" indent="-171450">
                <a:lnSpc>
                  <a:spcPts val="1000"/>
                </a:lnSpc>
                <a:spcBef>
                  <a:spcPts val="300"/>
                </a:spcBef>
                <a:buClr>
                  <a:srgbClr val="0070C0"/>
                </a:buClr>
                <a:buSzPct val="170000"/>
                <a:buFont typeface="Wingdings" pitchFamily="2" charset="2"/>
                <a:buChar char="§"/>
              </a:pPr>
              <a:r>
                <a:rPr lang="ru-RU" sz="1400" dirty="0"/>
                <a:t>Корректировка государственных заданий региональных организаций</a:t>
              </a:r>
            </a:p>
          </p:txBody>
        </p:sp>
        <p:cxnSp>
          <p:nvCxnSpPr>
            <p:cNvPr id="173" name="Прямая соединительная линия 172"/>
            <p:cNvCxnSpPr/>
            <p:nvPr/>
          </p:nvCxnSpPr>
          <p:spPr>
            <a:xfrm>
              <a:off x="2292698" y="3900319"/>
              <a:ext cx="6665010" cy="0"/>
            </a:xfrm>
            <a:prstGeom prst="line">
              <a:avLst/>
            </a:prstGeom>
            <a:ln w="17999">
              <a:solidFill>
                <a:schemeClr val="accent1">
                  <a:lumMod val="60000"/>
                  <a:lumOff val="40000"/>
                </a:schemeClr>
              </a:solidFill>
              <a:prstDash val="dash"/>
            </a:ln>
          </p:spPr>
        </p:cxnSp>
      </p:grpSp>
      <p:grpSp>
        <p:nvGrpSpPr>
          <p:cNvPr id="180" name="Группа 179"/>
          <p:cNvGrpSpPr/>
          <p:nvPr/>
        </p:nvGrpSpPr>
        <p:grpSpPr>
          <a:xfrm>
            <a:off x="1487488" y="5301209"/>
            <a:ext cx="2160240" cy="720080"/>
            <a:chOff x="1189314" y="4512720"/>
            <a:chExt cx="2494525" cy="831508"/>
          </a:xfrm>
        </p:grpSpPr>
        <p:sp>
          <p:nvSpPr>
            <p:cNvPr id="181" name="Freeform 338"/>
            <p:cNvSpPr>
              <a:spLocks/>
            </p:cNvSpPr>
            <p:nvPr/>
          </p:nvSpPr>
          <p:spPr bwMode="auto">
            <a:xfrm>
              <a:off x="1189314" y="4512720"/>
              <a:ext cx="2494525" cy="831508"/>
            </a:xfrm>
            <a:custGeom>
              <a:avLst/>
              <a:gdLst>
                <a:gd name="T0" fmla="*/ 135 w 1900"/>
                <a:gd name="T1" fmla="*/ 0 h 340"/>
                <a:gd name="T2" fmla="*/ 1900 w 1900"/>
                <a:gd name="T3" fmla="*/ 0 h 340"/>
                <a:gd name="T4" fmla="*/ 1765 w 1900"/>
                <a:gd name="T5" fmla="*/ 340 h 340"/>
                <a:gd name="T6" fmla="*/ 0 w 1900"/>
                <a:gd name="T7" fmla="*/ 340 h 340"/>
                <a:gd name="T8" fmla="*/ 135 w 1900"/>
                <a:gd name="T9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00" h="340">
                  <a:moveTo>
                    <a:pt x="135" y="0"/>
                  </a:moveTo>
                  <a:lnTo>
                    <a:pt x="1900" y="0"/>
                  </a:lnTo>
                  <a:lnTo>
                    <a:pt x="1765" y="340"/>
                  </a:lnTo>
                  <a:lnTo>
                    <a:pt x="0" y="340"/>
                  </a:lnTo>
                  <a:lnTo>
                    <a:pt x="13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182" name="Прямоугольник 181"/>
            <p:cNvSpPr/>
            <p:nvPr/>
          </p:nvSpPr>
          <p:spPr>
            <a:xfrm>
              <a:off x="1438767" y="4595870"/>
              <a:ext cx="1829318" cy="69303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100" b="1" dirty="0"/>
                <a:t>Основная образовательная программа</a:t>
              </a:r>
            </a:p>
          </p:txBody>
        </p:sp>
      </p:grpSp>
      <p:grpSp>
        <p:nvGrpSpPr>
          <p:cNvPr id="183" name="Группа 12"/>
          <p:cNvGrpSpPr/>
          <p:nvPr/>
        </p:nvGrpSpPr>
        <p:grpSpPr>
          <a:xfrm>
            <a:off x="4223792" y="5301208"/>
            <a:ext cx="2160240" cy="720080"/>
            <a:chOff x="5042383" y="4417626"/>
            <a:chExt cx="1787798" cy="516324"/>
          </a:xfrm>
        </p:grpSpPr>
        <p:sp>
          <p:nvSpPr>
            <p:cNvPr id="184" name="Freeform 337"/>
            <p:cNvSpPr>
              <a:spLocks/>
            </p:cNvSpPr>
            <p:nvPr/>
          </p:nvSpPr>
          <p:spPr bwMode="auto">
            <a:xfrm>
              <a:off x="5042383" y="4417626"/>
              <a:ext cx="1759794" cy="516324"/>
            </a:xfrm>
            <a:custGeom>
              <a:avLst/>
              <a:gdLst>
                <a:gd name="T0" fmla="*/ 136 w 1897"/>
                <a:gd name="T1" fmla="*/ 0 h 340"/>
                <a:gd name="T2" fmla="*/ 1897 w 1897"/>
                <a:gd name="T3" fmla="*/ 0 h 340"/>
                <a:gd name="T4" fmla="*/ 1762 w 1897"/>
                <a:gd name="T5" fmla="*/ 340 h 340"/>
                <a:gd name="T6" fmla="*/ 0 w 1897"/>
                <a:gd name="T7" fmla="*/ 340 h 340"/>
                <a:gd name="T8" fmla="*/ 136 w 1897"/>
                <a:gd name="T9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897" h="340">
                  <a:moveTo>
                    <a:pt x="136" y="0"/>
                  </a:moveTo>
                  <a:lnTo>
                    <a:pt x="1897" y="0"/>
                  </a:lnTo>
                  <a:lnTo>
                    <a:pt x="1762" y="340"/>
                  </a:lnTo>
                  <a:lnTo>
                    <a:pt x="0" y="340"/>
                  </a:lnTo>
                  <a:lnTo>
                    <a:pt x="136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185" name="Прямоугольник 184"/>
            <p:cNvSpPr/>
            <p:nvPr/>
          </p:nvSpPr>
          <p:spPr>
            <a:xfrm>
              <a:off x="5108695" y="4491122"/>
              <a:ext cx="1721486" cy="3089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ru-RU" sz="1100" b="1" dirty="0"/>
                <a:t>Задача по переходу </a:t>
              </a:r>
              <a:endParaRPr lang="ru-RU" sz="1100" b="1" dirty="0" smtClean="0"/>
            </a:p>
            <a:p>
              <a:pPr lvl="0"/>
              <a:r>
                <a:rPr lang="ru-RU" sz="1100" b="1" dirty="0" smtClean="0"/>
                <a:t>для </a:t>
              </a:r>
              <a:r>
                <a:rPr lang="ru-RU" sz="1100" b="1" dirty="0"/>
                <a:t>органов управления ОО</a:t>
              </a:r>
            </a:p>
          </p:txBody>
        </p:sp>
      </p:grpSp>
      <p:sp>
        <p:nvSpPr>
          <p:cNvPr id="186" name="Прямоугольник 185"/>
          <p:cNvSpPr/>
          <p:nvPr/>
        </p:nvSpPr>
        <p:spPr>
          <a:xfrm>
            <a:off x="3935760" y="6021288"/>
            <a:ext cx="2664296" cy="6437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lvl="0" indent="-171450">
              <a:lnSpc>
                <a:spcPts val="1000"/>
              </a:lnSpc>
              <a:spcBef>
                <a:spcPts val="300"/>
              </a:spcBef>
              <a:buClr>
                <a:srgbClr val="0070C0"/>
              </a:buClr>
              <a:buSzPct val="170000"/>
              <a:buFont typeface="Wingdings" pitchFamily="2" charset="2"/>
              <a:buChar char="§"/>
            </a:pPr>
            <a:r>
              <a:rPr lang="ru-RU" sz="1000" dirty="0"/>
              <a:t>Формирование рабочей группы по анализу  и изменению ООП</a:t>
            </a:r>
          </a:p>
          <a:p>
            <a:pPr marL="171450" lvl="0" indent="-171450">
              <a:lnSpc>
                <a:spcPts val="1000"/>
              </a:lnSpc>
              <a:spcBef>
                <a:spcPts val="300"/>
              </a:spcBef>
              <a:buClr>
                <a:srgbClr val="0070C0"/>
              </a:buClr>
              <a:buSzPct val="170000"/>
              <a:buFont typeface="Wingdings" pitchFamily="2" charset="2"/>
              <a:buChar char="§"/>
            </a:pPr>
            <a:r>
              <a:rPr lang="ru-RU" sz="1000" dirty="0"/>
              <a:t>Постановка задач по изменению рабочих </a:t>
            </a:r>
            <a:r>
              <a:rPr lang="ru-RU" sz="1000" dirty="0" smtClean="0"/>
              <a:t>программ</a:t>
            </a:r>
            <a:endParaRPr lang="ru-RU" sz="1000" dirty="0"/>
          </a:p>
        </p:txBody>
      </p:sp>
      <p:grpSp>
        <p:nvGrpSpPr>
          <p:cNvPr id="187" name="Группа 11"/>
          <p:cNvGrpSpPr/>
          <p:nvPr/>
        </p:nvGrpSpPr>
        <p:grpSpPr>
          <a:xfrm>
            <a:off x="7248128" y="5229200"/>
            <a:ext cx="2592288" cy="720080"/>
            <a:chOff x="7485517" y="4417626"/>
            <a:chExt cx="1652619" cy="516324"/>
          </a:xfrm>
        </p:grpSpPr>
        <p:sp>
          <p:nvSpPr>
            <p:cNvPr id="188" name="Freeform 343"/>
            <p:cNvSpPr>
              <a:spLocks/>
            </p:cNvSpPr>
            <p:nvPr/>
          </p:nvSpPr>
          <p:spPr bwMode="auto">
            <a:xfrm>
              <a:off x="7485517" y="4417626"/>
              <a:ext cx="1652619" cy="516324"/>
            </a:xfrm>
            <a:custGeom>
              <a:avLst/>
              <a:gdLst>
                <a:gd name="T0" fmla="*/ 135 w 1753"/>
                <a:gd name="T1" fmla="*/ 0 h 340"/>
                <a:gd name="T2" fmla="*/ 1753 w 1753"/>
                <a:gd name="T3" fmla="*/ 0 h 340"/>
                <a:gd name="T4" fmla="*/ 1614 w 1753"/>
                <a:gd name="T5" fmla="*/ 340 h 340"/>
                <a:gd name="T6" fmla="*/ 0 w 1753"/>
                <a:gd name="T7" fmla="*/ 340 h 340"/>
                <a:gd name="T8" fmla="*/ 135 w 1753"/>
                <a:gd name="T9" fmla="*/ 0 h 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53" h="340">
                  <a:moveTo>
                    <a:pt x="135" y="0"/>
                  </a:moveTo>
                  <a:lnTo>
                    <a:pt x="1753" y="0"/>
                  </a:lnTo>
                  <a:lnTo>
                    <a:pt x="1614" y="340"/>
                  </a:lnTo>
                  <a:lnTo>
                    <a:pt x="0" y="340"/>
                  </a:lnTo>
                  <a:lnTo>
                    <a:pt x="135" y="0"/>
                  </a:lnTo>
                  <a:close/>
                </a:path>
              </a:pathLst>
            </a:custGeom>
            <a:solidFill>
              <a:schemeClr val="accent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100"/>
            </a:p>
          </p:txBody>
        </p:sp>
        <p:sp>
          <p:nvSpPr>
            <p:cNvPr id="189" name="Прямоугольник 188"/>
            <p:cNvSpPr/>
            <p:nvPr/>
          </p:nvSpPr>
          <p:spPr>
            <a:xfrm>
              <a:off x="7631830" y="4495195"/>
              <a:ext cx="1380223" cy="37516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400" b="1" dirty="0"/>
                <a:t>Задача по переходу для учителя</a:t>
              </a:r>
            </a:p>
          </p:txBody>
        </p:sp>
      </p:grpSp>
      <p:sp>
        <p:nvSpPr>
          <p:cNvPr id="190" name="Прямоугольник 189"/>
          <p:cNvSpPr/>
          <p:nvPr/>
        </p:nvSpPr>
        <p:spPr>
          <a:xfrm>
            <a:off x="7320136" y="6021874"/>
            <a:ext cx="424847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lnSpc>
                <a:spcPts val="1000"/>
              </a:lnSpc>
              <a:spcBef>
                <a:spcPts val="1200"/>
              </a:spcBef>
              <a:buClr>
                <a:srgbClr val="0070C0"/>
              </a:buClr>
              <a:buSzPct val="170000"/>
              <a:buFont typeface="Wingdings" pitchFamily="2" charset="2"/>
              <a:buChar char="§"/>
            </a:pPr>
            <a:r>
              <a:rPr lang="ru-RU" sz="1000" dirty="0"/>
              <a:t>Анализ </a:t>
            </a:r>
            <a:r>
              <a:rPr lang="ru-RU" sz="1000" dirty="0">
                <a:solidFill>
                  <a:srgbClr val="FF0000"/>
                </a:solidFill>
              </a:rPr>
              <a:t>рабочих программ (далее – РП)</a:t>
            </a:r>
          </a:p>
          <a:p>
            <a:pPr marL="171450" indent="-171450">
              <a:lnSpc>
                <a:spcPts val="1000"/>
              </a:lnSpc>
              <a:spcBef>
                <a:spcPts val="300"/>
              </a:spcBef>
              <a:buClr>
                <a:srgbClr val="0070C0"/>
              </a:buClr>
              <a:buSzPct val="170000"/>
              <a:buFont typeface="Wingdings" pitchFamily="2" charset="2"/>
              <a:buChar char="§"/>
            </a:pPr>
            <a:r>
              <a:rPr lang="ru-RU" sz="1000" dirty="0" smtClean="0"/>
              <a:t>Изменение </a:t>
            </a:r>
            <a:r>
              <a:rPr lang="ru-RU" sz="1000" dirty="0"/>
              <a:t>РП в части структуры, содержания</a:t>
            </a:r>
          </a:p>
          <a:p>
            <a:pPr marL="171450" indent="-171450">
              <a:lnSpc>
                <a:spcPts val="1000"/>
              </a:lnSpc>
              <a:spcBef>
                <a:spcPts val="300"/>
              </a:spcBef>
              <a:buClr>
                <a:srgbClr val="0070C0"/>
              </a:buClr>
              <a:buSzPct val="170000"/>
              <a:buFont typeface="Wingdings" pitchFamily="2" charset="2"/>
              <a:buChar char="§"/>
            </a:pPr>
            <a:r>
              <a:rPr lang="ru-RU" sz="1000" dirty="0"/>
              <a:t>Формирование запроса на изменение </a:t>
            </a:r>
            <a:r>
              <a:rPr lang="ru-RU" sz="1000" dirty="0" smtClean="0"/>
              <a:t>условий</a:t>
            </a:r>
            <a:endParaRPr lang="ru-RU" sz="1000" dirty="0"/>
          </a:p>
        </p:txBody>
      </p:sp>
      <p:sp>
        <p:nvSpPr>
          <p:cNvPr id="191" name="TextBox 190"/>
          <p:cNvSpPr txBox="1"/>
          <p:nvPr/>
        </p:nvSpPr>
        <p:spPr>
          <a:xfrm>
            <a:off x="3935760" y="5229200"/>
            <a:ext cx="39305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b="1" dirty="0" smtClean="0"/>
              <a:t>2</a:t>
            </a:r>
            <a:endParaRPr lang="ru-RU" sz="3200" b="1" dirty="0"/>
          </a:p>
        </p:txBody>
      </p:sp>
      <p:sp>
        <p:nvSpPr>
          <p:cNvPr id="192" name="TextBox 191"/>
          <p:cNvSpPr txBox="1"/>
          <p:nvPr/>
        </p:nvSpPr>
        <p:spPr>
          <a:xfrm>
            <a:off x="6888088" y="5157192"/>
            <a:ext cx="3930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3</a:t>
            </a:r>
            <a:endParaRPr lang="ru-RU" sz="3200" b="1" dirty="0"/>
          </a:p>
        </p:txBody>
      </p:sp>
      <p:sp>
        <p:nvSpPr>
          <p:cNvPr id="193" name="TextBox 192"/>
          <p:cNvSpPr txBox="1"/>
          <p:nvPr/>
        </p:nvSpPr>
        <p:spPr>
          <a:xfrm>
            <a:off x="1055440" y="5301208"/>
            <a:ext cx="393056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3200" b="1" dirty="0" smtClean="0"/>
              <a:t>1</a:t>
            </a:r>
            <a:endParaRPr lang="ru-RU" sz="3200" b="1" dirty="0"/>
          </a:p>
        </p:txBody>
      </p:sp>
    </p:spTree>
    <p:extLst>
      <p:ext uri="{BB962C8B-B14F-4D97-AF65-F5344CB8AC3E}">
        <p14:creationId xmlns:p14="http://schemas.microsoft.com/office/powerpoint/2010/main" val="3199475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57E3C7ED-0209-4B63-B23B-AFC019DD3DDB}"/>
              </a:ext>
            </a:extLst>
          </p:cNvPr>
          <p:cNvSpPr txBox="1"/>
          <p:nvPr/>
        </p:nvSpPr>
        <p:spPr>
          <a:xfrm>
            <a:off x="1415480" y="221739"/>
            <a:ext cx="102313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accent5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ОБНОВЛЕНИЕ СОДЕРЖАНИЯ ОБЩЕГО ОБРАЗОВАНИЯ </a:t>
            </a:r>
          </a:p>
          <a:p>
            <a:r>
              <a:rPr lang="ru-RU" sz="2400" b="1" dirty="0" smtClean="0">
                <a:solidFill>
                  <a:schemeClr val="accent5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КАК ИНСТРУМЕНТ ПОВЫШЕНИЯ КАЧЕСТВА ОБРАЗОВАНИЯ</a:t>
            </a:r>
            <a:endParaRPr lang="ru-RU" sz="2400" b="1" dirty="0">
              <a:solidFill>
                <a:schemeClr val="accent5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55267FC8-D9EA-F142-8540-230B40142D56}"/>
              </a:ext>
            </a:extLst>
          </p:cNvPr>
          <p:cNvCxnSpPr/>
          <p:nvPr/>
        </p:nvCxnSpPr>
        <p:spPr>
          <a:xfrm>
            <a:off x="0" y="1196752"/>
            <a:ext cx="5303912" cy="0"/>
          </a:xfrm>
          <a:prstGeom prst="line">
            <a:avLst/>
          </a:prstGeom>
          <a:ln w="15875">
            <a:solidFill>
              <a:srgbClr val="3A6E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Box 4"/>
          <p:cNvSpPr txBox="1"/>
          <p:nvPr/>
        </p:nvSpPr>
        <p:spPr>
          <a:xfrm>
            <a:off x="707651" y="1268760"/>
            <a:ext cx="85184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accent5">
                    <a:lumMod val="75000"/>
                  </a:schemeClr>
                </a:solidFill>
              </a:rPr>
              <a:t>2021</a:t>
            </a:r>
            <a:endParaRPr lang="ru-RU" sz="24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0560496" y="1268760"/>
            <a:ext cx="12057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accent4">
                    <a:lumMod val="75000"/>
                  </a:schemeClr>
                </a:solidFill>
              </a:rPr>
              <a:t>2022</a:t>
            </a:r>
            <a:endParaRPr lang="ru-RU" sz="2400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graphicFrame>
        <p:nvGraphicFramePr>
          <p:cNvPr id="2" name="Схема 1"/>
          <p:cNvGraphicFramePr/>
          <p:nvPr>
            <p:extLst>
              <p:ext uri="{D42A27DB-BD31-4B8C-83A1-F6EECF244321}">
                <p14:modId xmlns:p14="http://schemas.microsoft.com/office/powerpoint/2010/main" val="3083304737"/>
              </p:ext>
            </p:extLst>
          </p:nvPr>
        </p:nvGraphicFramePr>
        <p:xfrm>
          <a:off x="407368" y="3429000"/>
          <a:ext cx="11311430" cy="321338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3" name="Схема 2"/>
          <p:cNvGraphicFramePr/>
          <p:nvPr>
            <p:extLst>
              <p:ext uri="{D42A27DB-BD31-4B8C-83A1-F6EECF244321}">
                <p14:modId xmlns:p14="http://schemas.microsoft.com/office/powerpoint/2010/main" val="1832857395"/>
              </p:ext>
            </p:extLst>
          </p:nvPr>
        </p:nvGraphicFramePr>
        <p:xfrm>
          <a:off x="519606" y="1730425"/>
          <a:ext cx="10976994" cy="14825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cxnSp>
        <p:nvCxnSpPr>
          <p:cNvPr id="6" name="Прямая соединительная линия 5"/>
          <p:cNvCxnSpPr>
            <a:stCxn id="5" idx="3"/>
            <a:endCxn id="15" idx="1"/>
          </p:cNvCxnSpPr>
          <p:nvPr/>
        </p:nvCxnSpPr>
        <p:spPr>
          <a:xfrm>
            <a:off x="1559496" y="1499593"/>
            <a:ext cx="9001000" cy="0"/>
          </a:xfrm>
          <a:prstGeom prst="line">
            <a:avLst/>
          </a:prstGeom>
          <a:ln w="76200">
            <a:gradFill flip="none" rotWithShape="1">
              <a:gsLst>
                <a:gs pos="0">
                  <a:schemeClr val="accent5">
                    <a:lumMod val="60000"/>
                    <a:lumOff val="40000"/>
                  </a:schemeClr>
                </a:gs>
                <a:gs pos="100000">
                  <a:schemeClr val="accent4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C9928A82-69A4-3F40-9462-725651383AA8}"/>
              </a:ext>
            </a:extLst>
          </p:cNvPr>
          <p:cNvPicPr>
            <a:picLocks noChangeAspect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68312" b="-7142"/>
          <a:stretch/>
        </p:blipFill>
        <p:spPr>
          <a:xfrm>
            <a:off x="266989" y="255895"/>
            <a:ext cx="1076483" cy="8612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08730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Прямоугольник 42"/>
          <p:cNvSpPr/>
          <p:nvPr/>
        </p:nvSpPr>
        <p:spPr>
          <a:xfrm>
            <a:off x="255168" y="2852936"/>
            <a:ext cx="5120752" cy="3528392"/>
          </a:xfrm>
          <a:prstGeom prst="rect">
            <a:avLst/>
          </a:prstGeom>
          <a:noFill/>
          <a:ln w="50800">
            <a:solidFill>
              <a:schemeClr val="accent5">
                <a:lumMod val="75000"/>
              </a:schemeClr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57E3C7ED-0209-4B63-B23B-AFC019DD3DDB}"/>
              </a:ext>
            </a:extLst>
          </p:cNvPr>
          <p:cNvSpPr txBox="1"/>
          <p:nvPr/>
        </p:nvSpPr>
        <p:spPr>
          <a:xfrm>
            <a:off x="1415480" y="221739"/>
            <a:ext cx="102313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accent5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ЦЕЛЕВАЯ МОДЕЛЬ ВНЕДРЕНИЯ</a:t>
            </a:r>
          </a:p>
          <a:p>
            <a:r>
              <a:rPr lang="ru-RU" sz="2400" b="1" dirty="0" smtClean="0">
                <a:solidFill>
                  <a:schemeClr val="accent5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ОБНОВЛЕННОГО СОДЕРЖАНИЯ ОБЩЕГО ОБРАЗОВАНИЯ 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55267FC8-D9EA-F142-8540-230B40142D56}"/>
              </a:ext>
            </a:extLst>
          </p:cNvPr>
          <p:cNvCxnSpPr/>
          <p:nvPr/>
        </p:nvCxnSpPr>
        <p:spPr>
          <a:xfrm>
            <a:off x="0" y="1196752"/>
            <a:ext cx="5303912" cy="0"/>
          </a:xfrm>
          <a:prstGeom prst="line">
            <a:avLst/>
          </a:prstGeom>
          <a:ln w="15875">
            <a:solidFill>
              <a:srgbClr val="3A6E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C9928A82-69A4-3F40-9462-725651383AA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68312" b="-7142"/>
          <a:stretch/>
        </p:blipFill>
        <p:spPr>
          <a:xfrm>
            <a:off x="266989" y="255895"/>
            <a:ext cx="1076483" cy="861286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0" y="1340768"/>
            <a:ext cx="1219200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200" b="1" dirty="0" smtClean="0">
                <a:solidFill>
                  <a:schemeClr val="accent4">
                    <a:lumMod val="75000"/>
                  </a:schemeClr>
                </a:solidFill>
              </a:rPr>
              <a:t>2022 г.: внедрение обновленных образовательных программ в 1-9 классах 40,3 </a:t>
            </a:r>
            <a:r>
              <a:rPr lang="ru-RU" sz="2200" b="1" dirty="0">
                <a:solidFill>
                  <a:schemeClr val="accent4">
                    <a:lumMod val="75000"/>
                  </a:schemeClr>
                </a:solidFill>
              </a:rPr>
              <a:t>тыс</a:t>
            </a:r>
            <a:r>
              <a:rPr lang="ru-RU" sz="2200" dirty="0">
                <a:solidFill>
                  <a:schemeClr val="accent4">
                    <a:lumMod val="75000"/>
                  </a:schemeClr>
                </a:solidFill>
              </a:rPr>
              <a:t>. </a:t>
            </a:r>
            <a:r>
              <a:rPr lang="ru-RU" sz="2200" dirty="0" smtClean="0">
                <a:solidFill>
                  <a:schemeClr val="accent4">
                    <a:lumMod val="75000"/>
                  </a:schemeClr>
                </a:solidFill>
              </a:rPr>
              <a:t>(100%) </a:t>
            </a:r>
            <a:r>
              <a:rPr lang="ru-RU" sz="2200" b="1" dirty="0" smtClean="0">
                <a:solidFill>
                  <a:schemeClr val="accent4">
                    <a:lumMod val="75000"/>
                  </a:schemeClr>
                </a:solidFill>
              </a:rPr>
              <a:t>ОО </a:t>
            </a:r>
            <a:endParaRPr lang="ru-RU" sz="2200" b="1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680176" y="1857598"/>
            <a:ext cx="4104456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dirty="0" smtClean="0">
                <a:cs typeface="Aharoni" panose="02010803020104030203" pitchFamily="2" charset="-79"/>
              </a:rPr>
              <a:t>2021/22 уч.г.: апробация в </a:t>
            </a:r>
            <a:r>
              <a:rPr lang="ru-RU" b="1" dirty="0" smtClean="0">
                <a:cs typeface="Aharoni" panose="02010803020104030203" pitchFamily="2" charset="-79"/>
              </a:rPr>
              <a:t>4 000</a:t>
            </a:r>
            <a:r>
              <a:rPr lang="ru-RU" dirty="0" smtClean="0">
                <a:cs typeface="Aharoni" panose="02010803020104030203" pitchFamily="2" charset="-79"/>
              </a:rPr>
              <a:t> ОО</a:t>
            </a:r>
          </a:p>
          <a:p>
            <a:pPr>
              <a:spcAft>
                <a:spcPts val="1200"/>
              </a:spcAft>
            </a:pPr>
            <a:r>
              <a:rPr lang="ru-RU" dirty="0" smtClean="0">
                <a:cs typeface="Aharoni" panose="02010803020104030203" pitchFamily="2" charset="-79"/>
              </a:rPr>
              <a:t>2022/23 уч.г.: внедрение в </a:t>
            </a:r>
            <a:r>
              <a:rPr lang="ru-RU" b="1" dirty="0" smtClean="0">
                <a:cs typeface="Aharoni" panose="02010803020104030203" pitchFamily="2" charset="-79"/>
              </a:rPr>
              <a:t>40,3 тыс. </a:t>
            </a:r>
            <a:r>
              <a:rPr lang="ru-RU" dirty="0" smtClean="0">
                <a:cs typeface="Aharoni" panose="02010803020104030203" pitchFamily="2" charset="-79"/>
              </a:rPr>
              <a:t>ОО</a:t>
            </a:r>
            <a:endParaRPr lang="ru-RU" dirty="0">
              <a:cs typeface="Aharoni" panose="02010803020104030203" pitchFamily="2" charset="-79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417029" y="2852936"/>
            <a:ext cx="475784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chemeClr val="accent4">
                    <a:lumMod val="75000"/>
                  </a:schemeClr>
                </a:solidFill>
              </a:rPr>
              <a:t>ПРОФЕССИОНАЛЬНОЕ РАЗВИТИЕ ПЕДАГОГОВ</a:t>
            </a:r>
          </a:p>
          <a:p>
            <a:pPr algn="ctr"/>
            <a:r>
              <a:rPr lang="ru-RU" dirty="0" smtClean="0">
                <a:solidFill>
                  <a:schemeClr val="accent4">
                    <a:lumMod val="75000"/>
                  </a:schemeClr>
                </a:solidFill>
              </a:rPr>
              <a:t>(плановый охват в 2022/23 уч.г. </a:t>
            </a:r>
            <a:r>
              <a:rPr lang="en-US" dirty="0" smtClean="0">
                <a:solidFill>
                  <a:schemeClr val="accent4">
                    <a:lumMod val="75000"/>
                  </a:schemeClr>
                </a:solidFill>
              </a:rPr>
              <a:t>&gt;</a:t>
            </a:r>
            <a:r>
              <a:rPr lang="ru-RU" dirty="0" smtClean="0">
                <a:solidFill>
                  <a:schemeClr val="accent4">
                    <a:lumMod val="75000"/>
                  </a:schemeClr>
                </a:solidFill>
              </a:rPr>
              <a:t> 1 млн чел.)</a:t>
            </a:r>
            <a:endParaRPr lang="ru-RU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35" name="Пятиугольник 34"/>
          <p:cNvSpPr/>
          <p:nvPr/>
        </p:nvSpPr>
        <p:spPr>
          <a:xfrm>
            <a:off x="276961" y="1878017"/>
            <a:ext cx="7256112" cy="758895"/>
          </a:xfrm>
          <a:prstGeom prst="homePlate">
            <a:avLst/>
          </a:prstGeom>
          <a:noFill/>
          <a:ln w="47625">
            <a:solidFill>
              <a:schemeClr val="accent5">
                <a:lumMod val="75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Прямоугольник 35"/>
          <p:cNvSpPr/>
          <p:nvPr/>
        </p:nvSpPr>
        <p:spPr>
          <a:xfrm>
            <a:off x="263352" y="2051556"/>
            <a:ext cx="699633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ru-RU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Примерные </a:t>
            </a:r>
            <a:r>
              <a:rPr lang="ru-RU" dirty="0">
                <a:solidFill>
                  <a:prstClr val="black"/>
                </a:solidFill>
                <a:cs typeface="Times New Roman" panose="02020603050405020304" pitchFamily="18" charset="0"/>
              </a:rPr>
              <a:t>основные образовательные программы	   </a:t>
            </a:r>
            <a:r>
              <a:rPr lang="ru-RU" dirty="0" smtClean="0">
                <a:solidFill>
                  <a:prstClr val="black"/>
                </a:solidFill>
                <a:cs typeface="Times New Roman" panose="02020603050405020304" pitchFamily="18" charset="0"/>
              </a:rPr>
              <a:t>	</a:t>
            </a:r>
            <a:endParaRPr lang="ru-RU" dirty="0">
              <a:solidFill>
                <a:prstClr val="black"/>
              </a:solidFill>
              <a:cs typeface="Times New Roman" panose="02020603050405020304" pitchFamily="18" charset="0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495600" y="3717032"/>
            <a:ext cx="5040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35%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495600" y="4581128"/>
            <a:ext cx="5040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50%</a:t>
            </a:r>
            <a:endParaRPr lang="ru-RU" sz="1200" b="1" dirty="0">
              <a:solidFill>
                <a:schemeClr val="bg1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2495600" y="5456257"/>
            <a:ext cx="5040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>
                <a:solidFill>
                  <a:schemeClr val="bg1"/>
                </a:solidFill>
              </a:rPr>
              <a:t>75%</a:t>
            </a:r>
            <a:endParaRPr lang="ru-RU" sz="1200" b="1" dirty="0">
              <a:solidFill>
                <a:schemeClr val="bg1"/>
              </a:solidFill>
            </a:endParaRPr>
          </a:p>
        </p:txBody>
      </p:sp>
      <p:graphicFrame>
        <p:nvGraphicFramePr>
          <p:cNvPr id="42" name="Схема 41"/>
          <p:cNvGraphicFramePr/>
          <p:nvPr>
            <p:extLst>
              <p:ext uri="{D42A27DB-BD31-4B8C-83A1-F6EECF244321}">
                <p14:modId xmlns:p14="http://schemas.microsoft.com/office/powerpoint/2010/main" val="3712430162"/>
              </p:ext>
            </p:extLst>
          </p:nvPr>
        </p:nvGraphicFramePr>
        <p:xfrm>
          <a:off x="8011751" y="2996952"/>
          <a:ext cx="3628865" cy="32403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5" name="Прямоугольник 44"/>
          <p:cNvSpPr/>
          <p:nvPr/>
        </p:nvSpPr>
        <p:spPr>
          <a:xfrm>
            <a:off x="5519936" y="2852936"/>
            <a:ext cx="6336704" cy="3528392"/>
          </a:xfrm>
          <a:prstGeom prst="rect">
            <a:avLst/>
          </a:prstGeom>
          <a:noFill/>
          <a:ln w="50800">
            <a:solidFill>
              <a:schemeClr val="accent5">
                <a:lumMod val="75000"/>
              </a:schemeClr>
            </a:solidFill>
            <a:beve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6" name="TextBox 45"/>
          <p:cNvSpPr txBox="1"/>
          <p:nvPr/>
        </p:nvSpPr>
        <p:spPr>
          <a:xfrm>
            <a:off x="5663952" y="3068960"/>
            <a:ext cx="2232248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spcAft>
                <a:spcPts val="1800"/>
              </a:spcAft>
            </a:pPr>
            <a:r>
              <a:rPr lang="ru-RU" b="1" dirty="0">
                <a:solidFill>
                  <a:schemeClr val="accent4">
                    <a:lumMod val="75000"/>
                  </a:schemeClr>
                </a:solidFill>
              </a:rPr>
              <a:t>Экспертиза, нормативное </a:t>
            </a:r>
            <a:r>
              <a:rPr lang="ru-RU" dirty="0" smtClean="0"/>
              <a:t>сопровождение:</a:t>
            </a:r>
          </a:p>
          <a:p>
            <a:pPr algn="r">
              <a:spcAft>
                <a:spcPts val="1800"/>
              </a:spcAft>
            </a:pPr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Научно-методическое</a:t>
            </a:r>
            <a:r>
              <a:rPr lang="ru-RU" dirty="0" smtClean="0"/>
              <a:t> </a:t>
            </a:r>
            <a:r>
              <a:rPr lang="ru-RU" dirty="0"/>
              <a:t>сопровождение: </a:t>
            </a:r>
          </a:p>
          <a:p>
            <a:pPr algn="r">
              <a:spcAft>
                <a:spcPts val="1800"/>
              </a:spcAft>
            </a:pPr>
            <a:r>
              <a:rPr lang="ru-RU" b="1" dirty="0">
                <a:solidFill>
                  <a:schemeClr val="tx2">
                    <a:lumMod val="75000"/>
                  </a:schemeClr>
                </a:solidFill>
              </a:rPr>
              <a:t>Организационно-методическое</a:t>
            </a:r>
            <a:r>
              <a:rPr lang="ru-RU" dirty="0"/>
              <a:t> сопровождение: 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5807968" y="1898248"/>
            <a:ext cx="1581089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600" dirty="0" smtClean="0"/>
              <a:t>НОО (1-4 </a:t>
            </a:r>
            <a:r>
              <a:rPr lang="ru-RU" sz="1600" dirty="0" err="1" smtClean="0"/>
              <a:t>кл</a:t>
            </a:r>
            <a:r>
              <a:rPr lang="ru-RU" sz="1600" dirty="0" smtClean="0"/>
              <a:t>.)</a:t>
            </a:r>
          </a:p>
          <a:p>
            <a:pPr>
              <a:spcAft>
                <a:spcPts val="1200"/>
              </a:spcAft>
            </a:pPr>
            <a:r>
              <a:rPr lang="ru-RU" sz="1600" dirty="0" smtClean="0"/>
              <a:t>ООО (5-9 </a:t>
            </a:r>
            <a:r>
              <a:rPr lang="ru-RU" sz="1600" dirty="0" err="1" smtClean="0"/>
              <a:t>кл</a:t>
            </a:r>
            <a:r>
              <a:rPr lang="ru-RU" sz="1600" dirty="0" smtClean="0"/>
              <a:t>.)</a:t>
            </a:r>
            <a:endParaRPr lang="ru-RU" sz="1600" dirty="0"/>
          </a:p>
        </p:txBody>
      </p:sp>
      <p:graphicFrame>
        <p:nvGraphicFramePr>
          <p:cNvPr id="20" name="Диаграмма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56647654"/>
              </p:ext>
            </p:extLst>
          </p:nvPr>
        </p:nvGraphicFramePr>
        <p:xfrm>
          <a:off x="420977" y="3499267"/>
          <a:ext cx="4753893" cy="27380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5" name="Левая фигурная скобка 4"/>
          <p:cNvSpPr/>
          <p:nvPr/>
        </p:nvSpPr>
        <p:spPr>
          <a:xfrm>
            <a:off x="5591944" y="2051556"/>
            <a:ext cx="144016" cy="441340"/>
          </a:xfrm>
          <a:prstGeom prst="lef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/>
          <p:cNvSpPr txBox="1"/>
          <p:nvPr/>
        </p:nvSpPr>
        <p:spPr>
          <a:xfrm>
            <a:off x="2815544" y="3855531"/>
            <a:ext cx="6881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bg1"/>
                </a:solidFill>
              </a:rPr>
              <a:t>35%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2815544" y="4633391"/>
            <a:ext cx="6881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bg1"/>
                </a:solidFill>
              </a:rPr>
              <a:t>50%</a:t>
            </a:r>
            <a:endParaRPr lang="ru-RU" sz="1400" b="1" dirty="0">
              <a:solidFill>
                <a:schemeClr val="bg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2815544" y="5373216"/>
            <a:ext cx="68816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schemeClr val="bg1"/>
                </a:solidFill>
              </a:rPr>
              <a:t>75%</a:t>
            </a:r>
            <a:endParaRPr lang="ru-RU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4189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Треугольник 19">
            <a:extLst>
              <a:ext uri="{FF2B5EF4-FFF2-40B4-BE49-F238E27FC236}">
                <a16:creationId xmlns="" xmlns:a16="http://schemas.microsoft.com/office/drawing/2014/main" id="{1916671B-2982-A34B-A842-E63A23FFB084}"/>
              </a:ext>
            </a:extLst>
          </p:cNvPr>
          <p:cNvSpPr/>
          <p:nvPr/>
        </p:nvSpPr>
        <p:spPr>
          <a:xfrm>
            <a:off x="506907" y="1508418"/>
            <a:ext cx="4830170" cy="2703964"/>
          </a:xfrm>
          <a:prstGeom prst="triangle">
            <a:avLst>
              <a:gd name="adj" fmla="val 0"/>
            </a:avLst>
          </a:prstGeom>
          <a:solidFill>
            <a:srgbClr val="ECDFF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10134600" y="6460513"/>
            <a:ext cx="2057400" cy="365125"/>
          </a:xfrm>
        </p:spPr>
        <p:txBody>
          <a:bodyPr/>
          <a:lstStyle/>
          <a:p>
            <a:fld id="{A4193B10-D779-4ADC-9156-ADC21C4AA330}" type="slidenum">
              <a:rPr lang="ru-RU" smtClean="0"/>
              <a:pPr/>
              <a:t>18</a:t>
            </a:fld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57E3C7ED-0209-4B63-B23B-AFC019DD3DDB}"/>
              </a:ext>
            </a:extLst>
          </p:cNvPr>
          <p:cNvSpPr txBox="1"/>
          <p:nvPr/>
        </p:nvSpPr>
        <p:spPr>
          <a:xfrm>
            <a:off x="1199456" y="130441"/>
            <a:ext cx="659009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276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фессиональное общественное </a:t>
            </a:r>
          </a:p>
          <a:p>
            <a:r>
              <a:rPr lang="ru-RU" sz="2400" b="1" dirty="0">
                <a:solidFill>
                  <a:srgbClr val="6D276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суждение рабочих программ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CC9E8ACE-6B27-4A2B-8C1B-1667A3AEF618}"/>
              </a:ext>
            </a:extLst>
          </p:cNvPr>
          <p:cNvSpPr txBox="1"/>
          <p:nvPr/>
        </p:nvSpPr>
        <p:spPr>
          <a:xfrm>
            <a:off x="708743" y="1984773"/>
            <a:ext cx="5303911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На портале Института стратегии развития образования РАО размещены примерные рабочие программы</a:t>
            </a:r>
          </a:p>
          <a:p>
            <a:endParaRPr lang="ru-RU" sz="3600" dirty="0">
              <a:latin typeface="Times New Roman" pitchFamily="18" charset="0"/>
              <a:cs typeface="Times New Roman" pitchFamily="18" charset="0"/>
            </a:endParaRPr>
          </a:p>
          <a:p>
            <a:endParaRPr lang="ru-RU" sz="36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393188" y="1700808"/>
            <a:ext cx="3685341" cy="25334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>
            <a:extLst>
              <a:ext uri="{FF2B5EF4-FFF2-40B4-BE49-F238E27FC236}">
                <a16:creationId xmlns="" xmlns:a16="http://schemas.microsoft.com/office/drawing/2014/main" id="{FB806985-C4AC-AB43-86F6-1C2C91FB9D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36" y="50303"/>
            <a:ext cx="744583" cy="99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Прямая соединительная линия 11">
            <a:extLst>
              <a:ext uri="{FF2B5EF4-FFF2-40B4-BE49-F238E27FC236}">
                <a16:creationId xmlns="" xmlns:a16="http://schemas.microsoft.com/office/drawing/2014/main" id="{93C6CD8D-8540-2D48-9C72-67F872AB4FD5}"/>
              </a:ext>
            </a:extLst>
          </p:cNvPr>
          <p:cNvCxnSpPr/>
          <p:nvPr/>
        </p:nvCxnSpPr>
        <p:spPr>
          <a:xfrm>
            <a:off x="0" y="1196752"/>
            <a:ext cx="5303912" cy="0"/>
          </a:xfrm>
          <a:prstGeom prst="line">
            <a:avLst/>
          </a:prstGeom>
          <a:ln w="15875">
            <a:solidFill>
              <a:srgbClr val="3A6E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" name="Group 2">
            <a:extLst>
              <a:ext uri="{FF2B5EF4-FFF2-40B4-BE49-F238E27FC236}">
                <a16:creationId xmlns="" xmlns:a16="http://schemas.microsoft.com/office/drawing/2014/main" id="{EFB6E226-E6D6-8E41-9382-DB999C63CCD6}"/>
              </a:ext>
            </a:extLst>
          </p:cNvPr>
          <p:cNvGrpSpPr>
            <a:grpSpLocks noChangeAspect="1"/>
          </p:cNvGrpSpPr>
          <p:nvPr/>
        </p:nvGrpSpPr>
        <p:grpSpPr>
          <a:xfrm>
            <a:off x="6861558" y="1495223"/>
            <a:ext cx="4877846" cy="2797874"/>
            <a:chOff x="0" y="0"/>
            <a:chExt cx="7981950" cy="4578350"/>
          </a:xfrm>
        </p:grpSpPr>
        <p:sp>
          <p:nvSpPr>
            <p:cNvPr id="16" name="Freeform 3">
              <a:extLst>
                <a:ext uri="{FF2B5EF4-FFF2-40B4-BE49-F238E27FC236}">
                  <a16:creationId xmlns="" xmlns:a16="http://schemas.microsoft.com/office/drawing/2014/main" id="{AF4105C3-7865-E043-B009-6B5140B44D7A}"/>
                </a:ext>
              </a:extLst>
            </p:cNvPr>
            <p:cNvSpPr/>
            <p:nvPr/>
          </p:nvSpPr>
          <p:spPr>
            <a:xfrm>
              <a:off x="765810" y="21590"/>
              <a:ext cx="6451600" cy="4326890"/>
            </a:xfrm>
            <a:custGeom>
              <a:avLst/>
              <a:gdLst/>
              <a:ahLst/>
              <a:cxnLst/>
              <a:rect l="l" t="t" r="r" b="b"/>
              <a:pathLst>
                <a:path w="6451600" h="4326890">
                  <a:moveTo>
                    <a:pt x="6224270" y="0"/>
                  </a:moveTo>
                  <a:lnTo>
                    <a:pt x="226060" y="0"/>
                  </a:lnTo>
                  <a:cubicBezTo>
                    <a:pt x="101600" y="0"/>
                    <a:pt x="0" y="101600"/>
                    <a:pt x="0" y="226060"/>
                  </a:cubicBezTo>
                  <a:lnTo>
                    <a:pt x="0" y="4326890"/>
                  </a:lnTo>
                  <a:lnTo>
                    <a:pt x="6451601" y="4326890"/>
                  </a:lnTo>
                  <a:lnTo>
                    <a:pt x="6451601" y="226060"/>
                  </a:lnTo>
                  <a:cubicBezTo>
                    <a:pt x="6450331" y="101600"/>
                    <a:pt x="6348731" y="0"/>
                    <a:pt x="6224270" y="0"/>
                  </a:cubicBezTo>
                  <a:close/>
                  <a:moveTo>
                    <a:pt x="6252210" y="4043680"/>
                  </a:moveTo>
                  <a:lnTo>
                    <a:pt x="196851" y="4043680"/>
                  </a:lnTo>
                  <a:lnTo>
                    <a:pt x="196851" y="255270"/>
                  </a:lnTo>
                  <a:lnTo>
                    <a:pt x="6252210" y="255270"/>
                  </a:lnTo>
                  <a:lnTo>
                    <a:pt x="6252210" y="4043680"/>
                  </a:lnTo>
                  <a:close/>
                </a:path>
              </a:pathLst>
            </a:custGeom>
            <a:solidFill>
              <a:srgbClr val="000000"/>
            </a:solidFill>
          </p:spPr>
        </p:sp>
        <p:sp>
          <p:nvSpPr>
            <p:cNvPr id="17" name="Freeform 4">
              <a:extLst>
                <a:ext uri="{FF2B5EF4-FFF2-40B4-BE49-F238E27FC236}">
                  <a16:creationId xmlns="" xmlns:a16="http://schemas.microsoft.com/office/drawing/2014/main" id="{B8C12FA8-7FF2-BD4D-BED0-134235457891}"/>
                </a:ext>
              </a:extLst>
            </p:cNvPr>
            <p:cNvSpPr/>
            <p:nvPr/>
          </p:nvSpPr>
          <p:spPr>
            <a:xfrm>
              <a:off x="0" y="0"/>
              <a:ext cx="7981950" cy="4542790"/>
            </a:xfrm>
            <a:custGeom>
              <a:avLst/>
              <a:gdLst/>
              <a:ahLst/>
              <a:cxnLst/>
              <a:rect l="l" t="t" r="r" b="b"/>
              <a:pathLst>
                <a:path w="7981950" h="4542790">
                  <a:moveTo>
                    <a:pt x="7239000" y="4348480"/>
                  </a:moveTo>
                  <a:lnTo>
                    <a:pt x="7239000" y="243840"/>
                  </a:lnTo>
                  <a:cubicBezTo>
                    <a:pt x="7239000" y="109220"/>
                    <a:pt x="7129780" y="0"/>
                    <a:pt x="6995160" y="0"/>
                  </a:cubicBezTo>
                  <a:lnTo>
                    <a:pt x="985520" y="0"/>
                  </a:lnTo>
                  <a:cubicBezTo>
                    <a:pt x="852170" y="0"/>
                    <a:pt x="742950" y="109220"/>
                    <a:pt x="742950" y="243840"/>
                  </a:cubicBezTo>
                  <a:lnTo>
                    <a:pt x="742950" y="4349750"/>
                  </a:lnTo>
                  <a:lnTo>
                    <a:pt x="0" y="4349750"/>
                  </a:lnTo>
                  <a:lnTo>
                    <a:pt x="0" y="4447540"/>
                  </a:lnTo>
                  <a:cubicBezTo>
                    <a:pt x="0" y="4500880"/>
                    <a:pt x="43180" y="4542790"/>
                    <a:pt x="95250" y="4542790"/>
                  </a:cubicBezTo>
                  <a:lnTo>
                    <a:pt x="7886700" y="4542790"/>
                  </a:lnTo>
                  <a:cubicBezTo>
                    <a:pt x="7940040" y="4542790"/>
                    <a:pt x="7981950" y="4499610"/>
                    <a:pt x="7981950" y="4447540"/>
                  </a:cubicBezTo>
                  <a:lnTo>
                    <a:pt x="7981950" y="4349750"/>
                  </a:lnTo>
                  <a:lnTo>
                    <a:pt x="7239000" y="4349750"/>
                  </a:lnTo>
                  <a:close/>
                  <a:moveTo>
                    <a:pt x="4519930" y="4348480"/>
                  </a:moveTo>
                  <a:lnTo>
                    <a:pt x="4519930" y="4349750"/>
                  </a:lnTo>
                  <a:cubicBezTo>
                    <a:pt x="4519930" y="4403090"/>
                    <a:pt x="4476750" y="4445000"/>
                    <a:pt x="4424680" y="4445000"/>
                  </a:cubicBezTo>
                  <a:lnTo>
                    <a:pt x="3557270" y="4445000"/>
                  </a:lnTo>
                  <a:cubicBezTo>
                    <a:pt x="3503930" y="4445000"/>
                    <a:pt x="3462020" y="4401820"/>
                    <a:pt x="3462020" y="4349750"/>
                  </a:cubicBezTo>
                  <a:lnTo>
                    <a:pt x="3462020" y="4348480"/>
                  </a:lnTo>
                  <a:lnTo>
                    <a:pt x="765810" y="4348480"/>
                  </a:lnTo>
                  <a:lnTo>
                    <a:pt x="765810" y="247650"/>
                  </a:lnTo>
                  <a:cubicBezTo>
                    <a:pt x="765810" y="123190"/>
                    <a:pt x="867410" y="21590"/>
                    <a:pt x="991870" y="21590"/>
                  </a:cubicBezTo>
                  <a:lnTo>
                    <a:pt x="6990080" y="21590"/>
                  </a:lnTo>
                  <a:cubicBezTo>
                    <a:pt x="7114539" y="21590"/>
                    <a:pt x="7216139" y="123190"/>
                    <a:pt x="7216139" y="247650"/>
                  </a:cubicBezTo>
                  <a:lnTo>
                    <a:pt x="7216139" y="4348480"/>
                  </a:lnTo>
                  <a:lnTo>
                    <a:pt x="4519930" y="4348480"/>
                  </a:lnTo>
                  <a:close/>
                </a:path>
              </a:pathLst>
            </a:custGeom>
            <a:solidFill>
              <a:srgbClr val="FFFFFF"/>
            </a:solidFill>
          </p:spPr>
        </p:sp>
        <p:sp>
          <p:nvSpPr>
            <p:cNvPr id="18" name="Freeform 5">
              <a:extLst>
                <a:ext uri="{FF2B5EF4-FFF2-40B4-BE49-F238E27FC236}">
                  <a16:creationId xmlns="" xmlns:a16="http://schemas.microsoft.com/office/drawing/2014/main" id="{3A42B4AA-9BB0-B145-9B3F-29C4289B5288}"/>
                </a:ext>
              </a:extLst>
            </p:cNvPr>
            <p:cNvSpPr/>
            <p:nvPr/>
          </p:nvSpPr>
          <p:spPr>
            <a:xfrm>
              <a:off x="3460750" y="4349750"/>
              <a:ext cx="1059180" cy="96520"/>
            </a:xfrm>
            <a:custGeom>
              <a:avLst/>
              <a:gdLst/>
              <a:ahLst/>
              <a:cxnLst/>
              <a:rect l="l" t="t" r="r" b="b"/>
              <a:pathLst>
                <a:path w="1059180" h="96520">
                  <a:moveTo>
                    <a:pt x="96520" y="96520"/>
                  </a:moveTo>
                  <a:lnTo>
                    <a:pt x="963930" y="96520"/>
                  </a:lnTo>
                  <a:cubicBezTo>
                    <a:pt x="1017270" y="96520"/>
                    <a:pt x="1059180" y="53340"/>
                    <a:pt x="1059180" y="1270"/>
                  </a:cubicBezTo>
                  <a:lnTo>
                    <a:pt x="1059180" y="0"/>
                  </a:lnTo>
                  <a:lnTo>
                    <a:pt x="0" y="0"/>
                  </a:lnTo>
                  <a:lnTo>
                    <a:pt x="0" y="1270"/>
                  </a:lnTo>
                  <a:cubicBezTo>
                    <a:pt x="0" y="53340"/>
                    <a:pt x="43180" y="96520"/>
                    <a:pt x="96520" y="96520"/>
                  </a:cubicBezTo>
                  <a:close/>
                </a:path>
              </a:pathLst>
            </a:custGeom>
            <a:solidFill>
              <a:srgbClr val="CCCCCC"/>
            </a:solidFill>
          </p:spPr>
        </p:sp>
        <p:sp>
          <p:nvSpPr>
            <p:cNvPr id="19" name="Freeform 6">
              <a:extLst>
                <a:ext uri="{FF2B5EF4-FFF2-40B4-BE49-F238E27FC236}">
                  <a16:creationId xmlns="" xmlns:a16="http://schemas.microsoft.com/office/drawing/2014/main" id="{9A3B595A-4C58-444F-BF18-F8501A5C9124}"/>
                </a:ext>
              </a:extLst>
            </p:cNvPr>
            <p:cNvSpPr/>
            <p:nvPr/>
          </p:nvSpPr>
          <p:spPr>
            <a:xfrm>
              <a:off x="163830" y="4542790"/>
              <a:ext cx="7654290" cy="35560"/>
            </a:xfrm>
            <a:custGeom>
              <a:avLst/>
              <a:gdLst/>
              <a:ahLst/>
              <a:cxnLst/>
              <a:rect l="l" t="t" r="r" b="b"/>
              <a:pathLst>
                <a:path w="7654290" h="35560">
                  <a:moveTo>
                    <a:pt x="0" y="0"/>
                  </a:moveTo>
                  <a:cubicBezTo>
                    <a:pt x="0" y="20320"/>
                    <a:pt x="16510" y="35560"/>
                    <a:pt x="35560" y="35560"/>
                  </a:cubicBezTo>
                  <a:lnTo>
                    <a:pt x="7618730" y="35560"/>
                  </a:lnTo>
                  <a:cubicBezTo>
                    <a:pt x="7639050" y="35560"/>
                    <a:pt x="7654290" y="19050"/>
                    <a:pt x="7654290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CCCCCC"/>
            </a:solidFill>
          </p:spPr>
        </p:sp>
      </p:grpSp>
      <p:sp>
        <p:nvSpPr>
          <p:cNvPr id="21" name="TextBox 20">
            <a:extLst>
              <a:ext uri="{FF2B5EF4-FFF2-40B4-BE49-F238E27FC236}">
                <a16:creationId xmlns="" xmlns:a16="http://schemas.microsoft.com/office/drawing/2014/main" id="{06C935FE-75F0-C74E-AE84-ADB0FC46B105}"/>
              </a:ext>
            </a:extLst>
          </p:cNvPr>
          <p:cNvSpPr txBox="1"/>
          <p:nvPr/>
        </p:nvSpPr>
        <p:spPr>
          <a:xfrm>
            <a:off x="2379767" y="4981534"/>
            <a:ext cx="591462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dirty="0">
                <a:latin typeface="Times New Roman" pitchFamily="18" charset="0"/>
                <a:cs typeface="Times New Roman" pitchFamily="18" charset="0"/>
              </a:rPr>
              <a:t>Горячая линия по вопросам обновления содержания общего образования</a:t>
            </a:r>
            <a:endParaRPr lang="ru-RU" sz="36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9F982547-B71F-4149-8289-86B30A563461}"/>
              </a:ext>
            </a:extLst>
          </p:cNvPr>
          <p:cNvSpPr txBox="1"/>
          <p:nvPr/>
        </p:nvSpPr>
        <p:spPr>
          <a:xfrm>
            <a:off x="2379767" y="5732445"/>
            <a:ext cx="53039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solidFill>
                  <a:srgbClr val="6D276A"/>
                </a:solidFill>
                <a:latin typeface="Times New Roman" pitchFamily="18" charset="0"/>
                <a:cs typeface="Times New Roman" pitchFamily="18" charset="0"/>
              </a:rPr>
              <a:t>8 800 200 91 85</a:t>
            </a:r>
            <a:endParaRPr lang="ru-RU" sz="4800" b="1" dirty="0">
              <a:solidFill>
                <a:srgbClr val="6D276A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Рисунок 3">
            <a:extLst>
              <a:ext uri="{FF2B5EF4-FFF2-40B4-BE49-F238E27FC236}">
                <a16:creationId xmlns="" xmlns:a16="http://schemas.microsoft.com/office/drawing/2014/main" id="{0F951A5E-691F-344B-BADC-99813F08E6E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392" y="4981534"/>
            <a:ext cx="1397263" cy="1397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6654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реугольник 16">
            <a:extLst>
              <a:ext uri="{FF2B5EF4-FFF2-40B4-BE49-F238E27FC236}">
                <a16:creationId xmlns="" xmlns:a16="http://schemas.microsoft.com/office/drawing/2014/main" id="{F4D2A1B6-61FF-5344-A317-550AEFED395E}"/>
              </a:ext>
            </a:extLst>
          </p:cNvPr>
          <p:cNvSpPr/>
          <p:nvPr/>
        </p:nvSpPr>
        <p:spPr>
          <a:xfrm rot="5400000">
            <a:off x="4228079" y="-1404403"/>
            <a:ext cx="3139321" cy="9484602"/>
          </a:xfrm>
          <a:prstGeom prst="triangle">
            <a:avLst>
              <a:gd name="adj" fmla="val 0"/>
            </a:avLst>
          </a:prstGeom>
          <a:solidFill>
            <a:srgbClr val="ECDFF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10134600" y="6492875"/>
            <a:ext cx="2057400" cy="365125"/>
          </a:xfrm>
        </p:spPr>
        <p:txBody>
          <a:bodyPr/>
          <a:lstStyle/>
          <a:p>
            <a:fld id="{A4193B10-D779-4ADC-9156-ADC21C4AA330}" type="slidenum">
              <a:rPr lang="ru-RU" smtClean="0"/>
              <a:pPr/>
              <a:t>19</a:t>
            </a:fld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8FE8C066-DB83-4924-A63D-CFD5FEA5164A}"/>
              </a:ext>
            </a:extLst>
          </p:cNvPr>
          <p:cNvSpPr txBox="1"/>
          <p:nvPr/>
        </p:nvSpPr>
        <p:spPr>
          <a:xfrm>
            <a:off x="1055440" y="133182"/>
            <a:ext cx="77048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276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учно-методическое сопровождение ФГОС: конструктор рабочих программ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355276B8-3080-49DF-9256-7FD80AB39B57}"/>
              </a:ext>
            </a:extLst>
          </p:cNvPr>
          <p:cNvSpPr txBox="1"/>
          <p:nvPr/>
        </p:nvSpPr>
        <p:spPr>
          <a:xfrm>
            <a:off x="1199456" y="1810946"/>
            <a:ext cx="9340586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рная рабочая программа основного общего образования.</a:t>
            </a:r>
          </a:p>
          <a:p>
            <a:pPr marL="342900" indent="-342900" algn="just">
              <a:spcAft>
                <a:spcPts val="600"/>
              </a:spcAft>
              <a:buFont typeface="+mj-lt"/>
              <a:buAutoNum type="arabicPeriod"/>
            </a:pP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яснительная записка, включающая: цели обучения, общая характеристика предмета, место предмета в учебном плане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ланируемые результаты освоения примерной рабочей программы:</a:t>
            </a:r>
          </a:p>
          <a:p>
            <a:pPr algn="just"/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- личностные;</a:t>
            </a:r>
          </a:p>
          <a:p>
            <a:pPr algn="just"/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- метапредметные;</a:t>
            </a:r>
          </a:p>
          <a:p>
            <a:pPr algn="just">
              <a:spcAft>
                <a:spcPts val="600"/>
              </a:spcAft>
            </a:pP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- предметные (по годам обучения).</a:t>
            </a:r>
          </a:p>
          <a:p>
            <a:pPr algn="just">
              <a:spcAft>
                <a:spcPts val="600"/>
              </a:spcAft>
            </a:pP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ичностные и метапредметные результаты раскрываются на основе обновленного ФГОС ООО с учетом специфики предмета.</a:t>
            </a:r>
          </a:p>
          <a:p>
            <a:pPr algn="just">
              <a:spcAft>
                <a:spcPts val="600"/>
              </a:spcAft>
            </a:pP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Содержание учебных предметов по годам обучения.</a:t>
            </a:r>
          </a:p>
          <a:p>
            <a:pPr algn="just">
              <a:spcAft>
                <a:spcPts val="600"/>
              </a:spcAft>
            </a:pP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. Тематическое планирование.</a:t>
            </a:r>
          </a:p>
        </p:txBody>
      </p:sp>
      <p:graphicFrame>
        <p:nvGraphicFramePr>
          <p:cNvPr id="16" name="Таблица 7">
            <a:extLst>
              <a:ext uri="{FF2B5EF4-FFF2-40B4-BE49-F238E27FC236}">
                <a16:creationId xmlns="" xmlns:a16="http://schemas.microsoft.com/office/drawing/2014/main" id="{9A647EF1-ABE0-4DC5-A59F-819D7C5414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0791662"/>
              </p:ext>
            </p:extLst>
          </p:nvPr>
        </p:nvGraphicFramePr>
        <p:xfrm>
          <a:off x="1901828" y="5725640"/>
          <a:ext cx="9340587" cy="94996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965691">
                  <a:extLst>
                    <a:ext uri="{9D8B030D-6E8A-4147-A177-3AD203B41FA5}">
                      <a16:colId xmlns="" xmlns:a16="http://schemas.microsoft.com/office/drawing/2014/main" val="628306000"/>
                    </a:ext>
                  </a:extLst>
                </a:gridCol>
                <a:gridCol w="2916686">
                  <a:extLst>
                    <a:ext uri="{9D8B030D-6E8A-4147-A177-3AD203B41FA5}">
                      <a16:colId xmlns="" xmlns:a16="http://schemas.microsoft.com/office/drawing/2014/main" val="2791626465"/>
                    </a:ext>
                  </a:extLst>
                </a:gridCol>
                <a:gridCol w="3458210">
                  <a:extLst>
                    <a:ext uri="{9D8B030D-6E8A-4147-A177-3AD203B41FA5}">
                      <a16:colId xmlns="" xmlns:a16="http://schemas.microsoft.com/office/drawing/2014/main" val="331737384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rgbClr val="6D276A"/>
                          </a:solidFill>
                          <a:latin typeface="Bookman Old Style" panose="02050604050505020204" pitchFamily="18" charset="0"/>
                        </a:rPr>
                        <a:t>Тематические блоки, тем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rgbClr val="6D276A"/>
                          </a:solidFill>
                          <a:latin typeface="Bookman Old Style" panose="02050604050505020204" pitchFamily="18" charset="0"/>
                        </a:rPr>
                        <a:t>Основное содержа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rgbClr val="6D276A"/>
                          </a:solidFill>
                          <a:latin typeface="Bookman Old Style" panose="02050604050505020204" pitchFamily="18" charset="0"/>
                        </a:rPr>
                        <a:t>Основные виды деятельности обучающихся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0746228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>
                        <a:solidFill>
                          <a:srgbClr val="6D276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rgbClr val="6D276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rgbClr val="6D276A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10926433"/>
                  </a:ext>
                </a:extLst>
              </a:tr>
            </a:tbl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="" xmlns:a16="http://schemas.microsoft.com/office/drawing/2014/main" id="{7EACC91D-B5D3-B04F-AB4F-D9B043E6CA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36" y="50303"/>
            <a:ext cx="744583" cy="99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Прямая соединительная линия 11">
            <a:extLst>
              <a:ext uri="{FF2B5EF4-FFF2-40B4-BE49-F238E27FC236}">
                <a16:creationId xmlns="" xmlns:a16="http://schemas.microsoft.com/office/drawing/2014/main" id="{6C9560E9-626D-884F-A622-DDA6B710DE87}"/>
              </a:ext>
            </a:extLst>
          </p:cNvPr>
          <p:cNvCxnSpPr/>
          <p:nvPr/>
        </p:nvCxnSpPr>
        <p:spPr>
          <a:xfrm>
            <a:off x="0" y="1196752"/>
            <a:ext cx="5303912" cy="0"/>
          </a:xfrm>
          <a:prstGeom prst="line">
            <a:avLst/>
          </a:prstGeom>
          <a:ln w="15875">
            <a:solidFill>
              <a:srgbClr val="3A6E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A792A72D-5B29-EF4F-A924-D29955287E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661" y="5750884"/>
            <a:ext cx="883553" cy="89947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A822ED8C-4DFC-814C-A995-B24EB55971F3}"/>
              </a:ext>
            </a:extLst>
          </p:cNvPr>
          <p:cNvSpPr txBox="1"/>
          <p:nvPr/>
        </p:nvSpPr>
        <p:spPr>
          <a:xfrm>
            <a:off x="1055440" y="1272583"/>
            <a:ext cx="6091740" cy="496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 algn="just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Единая схема для программ</a:t>
            </a:r>
          </a:p>
        </p:txBody>
      </p:sp>
    </p:spTree>
    <p:extLst>
      <p:ext uri="{BB962C8B-B14F-4D97-AF65-F5344CB8AC3E}">
        <p14:creationId xmlns:p14="http://schemas.microsoft.com/office/powerpoint/2010/main" val="738604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5">
            <a:extLst>
              <a:ext uri="{FF2B5EF4-FFF2-40B4-BE49-F238E27FC236}">
                <a16:creationId xmlns:a16="http://schemas.microsoft.com/office/drawing/2014/main" xmlns="" id="{BA28B003-C08B-45AD-9A3C-816206CFB47D}"/>
              </a:ext>
            </a:extLst>
          </p:cNvPr>
          <p:cNvSpPr>
            <a:spLocks noChangeArrowheads="1"/>
          </p:cNvSpPr>
          <p:nvPr/>
        </p:nvSpPr>
        <p:spPr bwMode="auto">
          <a:xfrm>
            <a:off x="-19100" y="6237312"/>
            <a:ext cx="12192000" cy="456801"/>
          </a:xfrm>
          <a:prstGeom prst="rect">
            <a:avLst/>
          </a:prstGeom>
          <a:solidFill>
            <a:schemeClr val="bg1"/>
          </a:solidFill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lIns="75685" tIns="37842" rIns="15137" bIns="37842" anchor="ctr"/>
          <a:lstStyle/>
          <a:p>
            <a:pPr algn="ctr"/>
            <a:r>
              <a:rPr lang="ru-RU" sz="2400" b="1" dirty="0">
                <a:solidFill>
                  <a:schemeClr val="accent4">
                    <a:lumMod val="75000"/>
                  </a:schemeClr>
                </a:solidFill>
              </a:rPr>
              <a:t>ГАРАНТИЯ РАВЕНСТВА РЕСУРСОВ, УСЛОВИЙ И </a:t>
            </a:r>
            <a:r>
              <a:rPr lang="ru-RU" sz="2400" b="1" dirty="0" smtClean="0">
                <a:solidFill>
                  <a:schemeClr val="accent4">
                    <a:lumMod val="75000"/>
                  </a:schemeClr>
                </a:solidFill>
              </a:rPr>
              <a:t>ВОЗМОЖНОСТЕЙ</a:t>
            </a:r>
            <a:endParaRPr lang="ru-RU" sz="2000" b="1" dirty="0">
              <a:solidFill>
                <a:srgbClr val="0070C0"/>
              </a:solidFill>
              <a:latin typeface="+mj-lt"/>
            </a:endParaRPr>
          </a:p>
        </p:txBody>
      </p:sp>
      <p:grpSp>
        <p:nvGrpSpPr>
          <p:cNvPr id="2" name="Группа 13"/>
          <p:cNvGrpSpPr/>
          <p:nvPr/>
        </p:nvGrpSpPr>
        <p:grpSpPr>
          <a:xfrm>
            <a:off x="911424" y="1412776"/>
            <a:ext cx="10297144" cy="4104457"/>
            <a:chOff x="911424" y="1412776"/>
            <a:chExt cx="10297144" cy="4104457"/>
          </a:xfrm>
        </p:grpSpPr>
        <p:sp>
          <p:nvSpPr>
            <p:cNvPr id="30" name="object 13">
              <a:extLst>
                <a:ext uri="{FF2B5EF4-FFF2-40B4-BE49-F238E27FC236}">
                  <a16:creationId xmlns:a16="http://schemas.microsoft.com/office/drawing/2014/main" xmlns="" id="{C6A016D1-1237-470B-A4A0-1E2493762D39}"/>
                </a:ext>
              </a:extLst>
            </p:cNvPr>
            <p:cNvSpPr/>
            <p:nvPr/>
          </p:nvSpPr>
          <p:spPr>
            <a:xfrm>
              <a:off x="4367808" y="1412776"/>
              <a:ext cx="3528391" cy="2808313"/>
            </a:xfrm>
            <a:custGeom>
              <a:avLst/>
              <a:gdLst/>
              <a:ahLst/>
              <a:cxnLst/>
              <a:rect l="l" t="t" r="r" b="b"/>
              <a:pathLst>
                <a:path w="1958975" h="1696720">
                  <a:moveTo>
                    <a:pt x="1468869" y="0"/>
                  </a:moveTo>
                  <a:lnTo>
                    <a:pt x="489623" y="0"/>
                  </a:lnTo>
                  <a:lnTo>
                    <a:pt x="0" y="848067"/>
                  </a:lnTo>
                  <a:lnTo>
                    <a:pt x="489623" y="1696135"/>
                  </a:lnTo>
                  <a:lnTo>
                    <a:pt x="1468869" y="1696135"/>
                  </a:lnTo>
                  <a:lnTo>
                    <a:pt x="1958517" y="848067"/>
                  </a:lnTo>
                  <a:lnTo>
                    <a:pt x="1468869" y="0"/>
                  </a:lnTo>
                  <a:close/>
                </a:path>
              </a:pathLst>
            </a:custGeom>
            <a:solidFill>
              <a:schemeClr val="bg1"/>
            </a:solidFill>
            <a:ln w="63500">
              <a:gradFill flip="none" rotWithShape="1">
                <a:gsLst>
                  <a:gs pos="99000">
                    <a:schemeClr val="accent5">
                      <a:lumMod val="40000"/>
                      <a:lumOff val="60000"/>
                    </a:schemeClr>
                  </a:gs>
                  <a:gs pos="0">
                    <a:schemeClr val="accent5">
                      <a:lumMod val="50000"/>
                    </a:schemeClr>
                  </a:gs>
                </a:gsLst>
                <a:lin ang="3600000" scaled="0"/>
                <a:tileRect/>
              </a:gradFill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5685" tIns="37842" rIns="75685" bIns="37842" rtlCol="0" anchor="ctr"/>
            <a:lstStyle/>
            <a:p>
              <a:pPr algn="ctr"/>
              <a:r>
                <a:rPr lang="ru-RU" sz="2400" b="1" dirty="0">
                  <a:solidFill>
                    <a:schemeClr val="accent5">
                      <a:lumMod val="75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Единые подходы  </a:t>
              </a:r>
            </a:p>
            <a:p>
              <a:pPr algn="ctr"/>
              <a:r>
                <a:rPr lang="ru-RU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Open Sans SemiBold" panose="020B0706030804020204" pitchFamily="34" charset="0"/>
                  <a:cs typeface="Open Sans SemiBold" panose="020B0706030804020204" pitchFamily="34" charset="0"/>
                </a:rPr>
                <a:t>к формированию содержания образования, воспитания </a:t>
              </a:r>
              <a:br>
                <a:rPr lang="ru-RU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Open Sans SemiBold" panose="020B0706030804020204" pitchFamily="34" charset="0"/>
                  <a:cs typeface="Open Sans SemiBold" panose="020B0706030804020204" pitchFamily="34" charset="0"/>
                </a:rPr>
              </a:br>
              <a:r>
                <a:rPr lang="ru-RU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Open Sans SemiBold" panose="020B0706030804020204" pitchFamily="34" charset="0"/>
                  <a:cs typeface="Open Sans SemiBold" panose="020B0706030804020204" pitchFamily="34" charset="0"/>
                </a:rPr>
                <a:t>детей и молодежи</a:t>
              </a:r>
            </a:p>
          </p:txBody>
        </p:sp>
        <p:sp>
          <p:nvSpPr>
            <p:cNvPr id="32" name="object 13">
              <a:extLst>
                <a:ext uri="{FF2B5EF4-FFF2-40B4-BE49-F238E27FC236}">
                  <a16:creationId xmlns:a16="http://schemas.microsoft.com/office/drawing/2014/main" xmlns="" id="{C6A016D1-1237-470B-A4A0-1E2493762D39}"/>
                </a:ext>
              </a:extLst>
            </p:cNvPr>
            <p:cNvSpPr/>
            <p:nvPr/>
          </p:nvSpPr>
          <p:spPr>
            <a:xfrm>
              <a:off x="911424" y="2564905"/>
              <a:ext cx="3530124" cy="2880322"/>
            </a:xfrm>
            <a:custGeom>
              <a:avLst/>
              <a:gdLst/>
              <a:ahLst/>
              <a:cxnLst/>
              <a:rect l="l" t="t" r="r" b="b"/>
              <a:pathLst>
                <a:path w="1958975" h="1696720">
                  <a:moveTo>
                    <a:pt x="1468869" y="0"/>
                  </a:moveTo>
                  <a:lnTo>
                    <a:pt x="489623" y="0"/>
                  </a:lnTo>
                  <a:lnTo>
                    <a:pt x="0" y="848067"/>
                  </a:lnTo>
                  <a:lnTo>
                    <a:pt x="489623" y="1696135"/>
                  </a:lnTo>
                  <a:lnTo>
                    <a:pt x="1468869" y="1696135"/>
                  </a:lnTo>
                  <a:lnTo>
                    <a:pt x="1958517" y="848067"/>
                  </a:lnTo>
                  <a:lnTo>
                    <a:pt x="1468869" y="0"/>
                  </a:lnTo>
                  <a:close/>
                </a:path>
              </a:pathLst>
            </a:custGeom>
            <a:solidFill>
              <a:schemeClr val="bg1"/>
            </a:solidFill>
            <a:ln w="63500">
              <a:gradFill flip="none" rotWithShape="1">
                <a:gsLst>
                  <a:gs pos="99000">
                    <a:schemeClr val="accent5">
                      <a:lumMod val="40000"/>
                      <a:lumOff val="60000"/>
                    </a:schemeClr>
                  </a:gs>
                  <a:gs pos="0">
                    <a:schemeClr val="accent5">
                      <a:lumMod val="50000"/>
                    </a:schemeClr>
                  </a:gs>
                </a:gsLst>
                <a:lin ang="3600000" scaled="0"/>
                <a:tileRect/>
              </a:gradFill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5685" tIns="37842" rIns="75685" bIns="37842" rtlCol="0" anchor="ctr"/>
            <a:lstStyle/>
            <a:p>
              <a:pPr algn="ctr"/>
              <a:r>
                <a:rPr lang="ru-RU" sz="2400" b="1" dirty="0" smtClean="0">
                  <a:solidFill>
                    <a:schemeClr val="accent5">
                      <a:lumMod val="75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Единые </a:t>
              </a:r>
              <a:r>
                <a:rPr lang="ru-RU" sz="2400" b="1" dirty="0">
                  <a:solidFill>
                    <a:schemeClr val="accent5">
                      <a:lumMod val="75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стандарты</a:t>
              </a:r>
            </a:p>
            <a:p>
              <a:pPr algn="ctr"/>
              <a:r>
                <a:rPr lang="ru-RU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Open Sans SemiBold" panose="020B0706030804020204" pitchFamily="34" charset="0"/>
                  <a:cs typeface="Open Sans SemiBold" panose="020B0706030804020204" pitchFamily="34" charset="0"/>
                </a:rPr>
                <a:t>образовательного пространства </a:t>
              </a:r>
              <a:r>
                <a:rPr lang="ru-RU" sz="2000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  <a:ea typeface="Open Sans SemiBold" panose="020B0706030804020204" pitchFamily="34" charset="0"/>
                  <a:cs typeface="Open Sans SemiBold" panose="020B0706030804020204" pitchFamily="34" charset="0"/>
                </a:rPr>
                <a:t>страны</a:t>
              </a:r>
            </a:p>
            <a:p>
              <a:pPr algn="ctr"/>
              <a:endParaRPr lang="ru-RU" sz="2000" b="1" dirty="0">
                <a:solidFill>
                  <a:schemeClr val="tx1">
                    <a:lumMod val="75000"/>
                    <a:lumOff val="25000"/>
                  </a:schemeClr>
                </a:solidFill>
                <a:ea typeface="Open Sans SemiBold" panose="020B0706030804020204" pitchFamily="34" charset="0"/>
                <a:cs typeface="Open Sans SemiBold" panose="020B0706030804020204" pitchFamily="34" charset="0"/>
              </a:endParaRPr>
            </a:p>
          </p:txBody>
        </p:sp>
        <p:sp>
          <p:nvSpPr>
            <p:cNvPr id="34" name="object 13">
              <a:extLst>
                <a:ext uri="{FF2B5EF4-FFF2-40B4-BE49-F238E27FC236}">
                  <a16:creationId xmlns:a16="http://schemas.microsoft.com/office/drawing/2014/main" xmlns="" id="{C6A016D1-1237-470B-A4A0-1E2493762D39}"/>
                </a:ext>
              </a:extLst>
            </p:cNvPr>
            <p:cNvSpPr/>
            <p:nvPr/>
          </p:nvSpPr>
          <p:spPr>
            <a:xfrm>
              <a:off x="7680176" y="2708921"/>
              <a:ext cx="3528392" cy="2808312"/>
            </a:xfrm>
            <a:custGeom>
              <a:avLst/>
              <a:gdLst/>
              <a:ahLst/>
              <a:cxnLst/>
              <a:rect l="l" t="t" r="r" b="b"/>
              <a:pathLst>
                <a:path w="1958975" h="1696720">
                  <a:moveTo>
                    <a:pt x="1468869" y="0"/>
                  </a:moveTo>
                  <a:lnTo>
                    <a:pt x="489623" y="0"/>
                  </a:lnTo>
                  <a:lnTo>
                    <a:pt x="0" y="848067"/>
                  </a:lnTo>
                  <a:lnTo>
                    <a:pt x="489623" y="1696135"/>
                  </a:lnTo>
                  <a:lnTo>
                    <a:pt x="1468869" y="1696135"/>
                  </a:lnTo>
                  <a:lnTo>
                    <a:pt x="1958517" y="848067"/>
                  </a:lnTo>
                  <a:lnTo>
                    <a:pt x="1468869" y="0"/>
                  </a:lnTo>
                  <a:close/>
                </a:path>
              </a:pathLst>
            </a:custGeom>
            <a:solidFill>
              <a:schemeClr val="bg1"/>
            </a:solidFill>
            <a:ln w="63500">
              <a:gradFill flip="none" rotWithShape="1">
                <a:gsLst>
                  <a:gs pos="99000">
                    <a:schemeClr val="accent5">
                      <a:lumMod val="40000"/>
                      <a:lumOff val="60000"/>
                    </a:schemeClr>
                  </a:gs>
                  <a:gs pos="0">
                    <a:schemeClr val="accent5">
                      <a:lumMod val="50000"/>
                    </a:schemeClr>
                  </a:gs>
                </a:gsLst>
                <a:lin ang="3600000" scaled="0"/>
                <a:tileRect/>
              </a:gradFill>
            </a:ln>
            <a:effectLst>
              <a:outerShdw blurRad="50800" dist="762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75685" tIns="37842" rIns="75685" bIns="37842" rtlCol="0" anchor="ctr"/>
            <a:lstStyle/>
            <a:p>
              <a:pPr algn="ctr"/>
              <a:r>
                <a:rPr lang="ru-RU" sz="2400" b="1" dirty="0">
                  <a:solidFill>
                    <a:schemeClr val="accent5">
                      <a:lumMod val="75000"/>
                    </a:schemeClr>
                  </a:solidFill>
                  <a:latin typeface="Open Sans SemiBold" panose="020B0706030804020204" pitchFamily="34" charset="0"/>
                  <a:ea typeface="Open Sans SemiBold" panose="020B0706030804020204" pitchFamily="34" charset="0"/>
                  <a:cs typeface="Open Sans SemiBold" panose="020B0706030804020204" pitchFamily="34" charset="0"/>
                </a:rPr>
                <a:t>Единая система</a:t>
              </a:r>
            </a:p>
            <a:p>
              <a:pPr algn="ctr"/>
              <a:r>
                <a:rPr lang="ru-RU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Open Sans SemiBold" panose="020B0706030804020204" pitchFamily="34" charset="0"/>
                  <a:cs typeface="Open Sans SemiBold" panose="020B0706030804020204" pitchFamily="34" charset="0"/>
                </a:rPr>
                <a:t>мониторинга</a:t>
              </a:r>
            </a:p>
            <a:p>
              <a:pPr algn="ctr"/>
              <a:r>
                <a:rPr lang="ru-RU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Open Sans SemiBold" panose="020B0706030804020204" pitchFamily="34" charset="0"/>
                  <a:cs typeface="Open Sans SemiBold" panose="020B0706030804020204" pitchFamily="34" charset="0"/>
                </a:rPr>
                <a:t>эффективности деятельности образовательных</a:t>
              </a:r>
            </a:p>
            <a:p>
              <a:pPr algn="ctr"/>
              <a:r>
                <a:rPr lang="ru-RU" sz="2000" b="1" dirty="0">
                  <a:solidFill>
                    <a:schemeClr val="tx1">
                      <a:lumMod val="75000"/>
                      <a:lumOff val="25000"/>
                    </a:schemeClr>
                  </a:solidFill>
                  <a:ea typeface="Open Sans SemiBold" panose="020B0706030804020204" pitchFamily="34" charset="0"/>
                  <a:cs typeface="Open Sans SemiBold" panose="020B0706030804020204" pitchFamily="34" charset="0"/>
                </a:rPr>
                <a:t> организаций</a:t>
              </a:r>
            </a:p>
          </p:txBody>
        </p:sp>
      </p:grp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xmlns="" id="{C9DDA7A0-8F3E-FA4A-97F9-4E5FC86D2A00}"/>
              </a:ext>
            </a:extLst>
          </p:cNvPr>
          <p:cNvCxnSpPr>
            <a:cxnSpLocks/>
          </p:cNvCxnSpPr>
          <p:nvPr/>
        </p:nvCxnSpPr>
        <p:spPr>
          <a:xfrm>
            <a:off x="2027779" y="5949611"/>
            <a:ext cx="8028661" cy="0"/>
          </a:xfrm>
          <a:prstGeom prst="line">
            <a:avLst/>
          </a:prstGeom>
          <a:ln w="12700"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Треугольник 10">
            <a:extLst>
              <a:ext uri="{FF2B5EF4-FFF2-40B4-BE49-F238E27FC236}">
                <a16:creationId xmlns:a16="http://schemas.microsoft.com/office/drawing/2014/main" xmlns="" id="{F8E0AFA2-FEFE-C345-9B44-5925DBBE1323}"/>
              </a:ext>
            </a:extLst>
          </p:cNvPr>
          <p:cNvSpPr/>
          <p:nvPr/>
        </p:nvSpPr>
        <p:spPr bwMode="auto">
          <a:xfrm rot="10800000">
            <a:off x="5748176" y="5949611"/>
            <a:ext cx="923888" cy="119209"/>
          </a:xfrm>
          <a:prstGeom prst="triangle">
            <a:avLst/>
          </a:prstGeom>
          <a:solidFill>
            <a:schemeClr val="tx1">
              <a:lumMod val="50000"/>
              <a:lumOff val="50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lIns="37775" tIns="37775" rIns="37775" bIns="37775" rtlCol="0" anchor="ctr" anchorCtr="0"/>
          <a:lstStyle/>
          <a:p>
            <a:pPr algn="ctr" defTabSz="755513" eaLnBrk="0">
              <a:spcBef>
                <a:spcPct val="30000"/>
              </a:spcBef>
            </a:pPr>
            <a:endParaRPr lang="ru-RU" sz="1300" b="1" dirty="0">
              <a:solidFill>
                <a:prstClr val="white"/>
              </a:solidFill>
              <a:latin typeface="M.Video" pitchFamily="2" charset="0"/>
            </a:endParaRP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xmlns="" id="{55267FC8-D9EA-F142-8540-230B40142D56}"/>
              </a:ext>
            </a:extLst>
          </p:cNvPr>
          <p:cNvCxnSpPr/>
          <p:nvPr/>
        </p:nvCxnSpPr>
        <p:spPr>
          <a:xfrm>
            <a:off x="0" y="1196752"/>
            <a:ext cx="5303912" cy="0"/>
          </a:xfrm>
          <a:prstGeom prst="line">
            <a:avLst/>
          </a:prstGeom>
          <a:ln w="15875">
            <a:solidFill>
              <a:srgbClr val="3A6E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Рисунок 17">
            <a:extLst>
              <a:ext uri="{FF2B5EF4-FFF2-40B4-BE49-F238E27FC236}">
                <a16:creationId xmlns:a16="http://schemas.microsoft.com/office/drawing/2014/main" xmlns="" id="{C9928A82-69A4-3F40-9462-725651383AA8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" r="68312" b="-7142"/>
          <a:stretch/>
        </p:blipFill>
        <p:spPr>
          <a:xfrm>
            <a:off x="266989" y="255895"/>
            <a:ext cx="1076483" cy="861286"/>
          </a:xfrm>
          <a:prstGeom prst="rect">
            <a:avLst/>
          </a:prstGeom>
        </p:spPr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xmlns="" id="{6F5856D3-B86E-415C-BE68-AB98AE177B4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40000" contrast="40000"/>
                    </a14:imgEffect>
                  </a14:imgLayer>
                </a14:imgProps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2335033" y="1673442"/>
            <a:ext cx="952655" cy="811226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:a16="http://schemas.microsoft.com/office/drawing/2014/main" xmlns="" id="{0E30DDBE-9565-4607-AF6F-E306F5EBBDE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40000" contrast="40000"/>
                    </a14:imgEffect>
                  </a14:imgLayer>
                </a14:imgProps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5649587" y="4593300"/>
            <a:ext cx="981444" cy="707910"/>
          </a:xfrm>
          <a:prstGeom prst="rect">
            <a:avLst/>
          </a:prstGeom>
        </p:spPr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xmlns="" id="{91694D17-BA5C-4C92-9BC6-91D1FA76770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duotone>
              <a:prstClr val="black"/>
              <a:schemeClr val="accent5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40000" contrast="40000"/>
                    </a14:imgEffect>
                  </a14:imgLayer>
                </a14:imgProps>
              </a:ext>
              <a:ext uri="{96DAC541-7B7A-43D3-8B79-37D633B846F1}">
                <asvg:svgBlip xmlns:asvg="http://schemas.microsoft.com/office/drawing/2016/SVG/main" xmlns="" r:embed="rId11"/>
              </a:ext>
            </a:extLst>
          </a:blip>
          <a:stretch>
            <a:fillRect/>
          </a:stretch>
        </p:blipFill>
        <p:spPr>
          <a:xfrm>
            <a:off x="8787710" y="1844825"/>
            <a:ext cx="1054438" cy="708435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xmlns="" id="{57E3C7ED-0209-4B63-B23B-AFC019DD3DDB}"/>
              </a:ext>
            </a:extLst>
          </p:cNvPr>
          <p:cNvSpPr txBox="1"/>
          <p:nvPr/>
        </p:nvSpPr>
        <p:spPr>
          <a:xfrm>
            <a:off x="1415480" y="221739"/>
            <a:ext cx="1023131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 smtClean="0">
                <a:solidFill>
                  <a:schemeClr val="accent5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СОВРЕМЕННАЯ </a:t>
            </a:r>
            <a:r>
              <a:rPr lang="ru-RU" sz="2400" b="1" dirty="0">
                <a:solidFill>
                  <a:schemeClr val="accent5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ЕДИНАЯ ДИНАМИЧНО РАЗВИВАЮЩАЯСЯ </a:t>
            </a:r>
            <a:r>
              <a:rPr lang="ru-RU" sz="2400" b="1" dirty="0" smtClean="0">
                <a:solidFill>
                  <a:schemeClr val="accent5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/>
            </a:r>
            <a:br>
              <a:rPr lang="ru-RU" sz="2400" b="1" dirty="0" smtClean="0">
                <a:solidFill>
                  <a:schemeClr val="accent5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</a:br>
            <a:r>
              <a:rPr lang="ru-RU" sz="2400" b="1" dirty="0" smtClean="0">
                <a:solidFill>
                  <a:schemeClr val="accent5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СИСТЕМА </a:t>
            </a:r>
            <a:r>
              <a:rPr lang="ru-RU" sz="2400" b="1" dirty="0">
                <a:solidFill>
                  <a:schemeClr val="accent5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ОБРАЗОВАНИЯ </a:t>
            </a:r>
            <a:r>
              <a:rPr lang="ru-RU" sz="2400" b="1" dirty="0" smtClean="0">
                <a:solidFill>
                  <a:schemeClr val="accent5">
                    <a:lumMod val="75000"/>
                  </a:schemeClr>
                </a:solidFill>
                <a:latin typeface="+mj-lt"/>
                <a:cs typeface="Times New Roman" panose="02020603050405020304" pitchFamily="18" charset="0"/>
              </a:rPr>
              <a:t>РОССИИ </a:t>
            </a:r>
            <a:endParaRPr lang="ru-RU" sz="2400" b="1" dirty="0">
              <a:solidFill>
                <a:schemeClr val="accent5">
                  <a:lumMod val="75000"/>
                </a:schemeClr>
              </a:solidFill>
              <a:latin typeface="+mj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792943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Треугольник 18">
            <a:extLst>
              <a:ext uri="{FF2B5EF4-FFF2-40B4-BE49-F238E27FC236}">
                <a16:creationId xmlns="" xmlns:a16="http://schemas.microsoft.com/office/drawing/2014/main" id="{ED635E89-D809-534F-BA05-CC2050AF043E}"/>
              </a:ext>
            </a:extLst>
          </p:cNvPr>
          <p:cNvSpPr/>
          <p:nvPr/>
        </p:nvSpPr>
        <p:spPr>
          <a:xfrm rot="10800000">
            <a:off x="8904311" y="1772816"/>
            <a:ext cx="2808313" cy="4248472"/>
          </a:xfrm>
          <a:prstGeom prst="triangle">
            <a:avLst>
              <a:gd name="adj" fmla="val 0"/>
            </a:avLst>
          </a:prstGeom>
          <a:solidFill>
            <a:srgbClr val="ECDFF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10134600" y="6451600"/>
            <a:ext cx="2057400" cy="365125"/>
          </a:xfrm>
        </p:spPr>
        <p:txBody>
          <a:bodyPr/>
          <a:lstStyle/>
          <a:p>
            <a:fld id="{A4193B10-D779-4ADC-9156-ADC21C4AA330}" type="slidenum">
              <a:rPr lang="ru-RU" smtClean="0"/>
              <a:pPr/>
              <a:t>20</a:t>
            </a:fld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57E3C7ED-0209-4B63-B23B-AFC019DD3DDB}"/>
              </a:ext>
            </a:extLst>
          </p:cNvPr>
          <p:cNvSpPr txBox="1"/>
          <p:nvPr/>
        </p:nvSpPr>
        <p:spPr>
          <a:xfrm>
            <a:off x="1343473" y="133182"/>
            <a:ext cx="417646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276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учно-методическое </a:t>
            </a:r>
          </a:p>
          <a:p>
            <a:r>
              <a:rPr lang="ru-RU" sz="2400" b="1" dirty="0">
                <a:solidFill>
                  <a:srgbClr val="6D276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провождение ФГОС</a:t>
            </a:r>
          </a:p>
        </p:txBody>
      </p:sp>
      <p:pic>
        <p:nvPicPr>
          <p:cNvPr id="10" name="Picture 2">
            <a:extLst>
              <a:ext uri="{FF2B5EF4-FFF2-40B4-BE49-F238E27FC236}">
                <a16:creationId xmlns="" xmlns:a16="http://schemas.microsoft.com/office/drawing/2014/main" id="{C7456423-BBAE-554F-AB27-D37C4CEE6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36" y="50303"/>
            <a:ext cx="744583" cy="99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1" name="Прямая соединительная линия 10">
            <a:extLst>
              <a:ext uri="{FF2B5EF4-FFF2-40B4-BE49-F238E27FC236}">
                <a16:creationId xmlns="" xmlns:a16="http://schemas.microsoft.com/office/drawing/2014/main" id="{C9118A6F-CC8D-8F4A-BBC9-317495F23B34}"/>
              </a:ext>
            </a:extLst>
          </p:cNvPr>
          <p:cNvCxnSpPr/>
          <p:nvPr/>
        </p:nvCxnSpPr>
        <p:spPr>
          <a:xfrm>
            <a:off x="0" y="1196752"/>
            <a:ext cx="5303912" cy="0"/>
          </a:xfrm>
          <a:prstGeom prst="line">
            <a:avLst/>
          </a:prstGeom>
          <a:ln w="15875">
            <a:solidFill>
              <a:srgbClr val="3A6E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Рисунок 11">
            <a:extLst>
              <a:ext uri="{FF2B5EF4-FFF2-40B4-BE49-F238E27FC236}">
                <a16:creationId xmlns="" xmlns:a16="http://schemas.microsoft.com/office/drawing/2014/main" id="{F0A5F637-A5B1-3F4F-B301-5193C9E5591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68" y="2924944"/>
            <a:ext cx="873870" cy="873870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="" xmlns:a16="http://schemas.microsoft.com/office/drawing/2014/main" id="{D2B1B732-3D81-E04C-A15C-6F398057AA76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68" y="4293096"/>
            <a:ext cx="873870" cy="88160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="" xmlns:a16="http://schemas.microsoft.com/office/drawing/2014/main" id="{18C86334-52E5-6245-9441-A8E826B03339}"/>
              </a:ext>
            </a:extLst>
          </p:cNvPr>
          <p:cNvSpPr txBox="1"/>
          <p:nvPr/>
        </p:nvSpPr>
        <p:spPr>
          <a:xfrm>
            <a:off x="1415480" y="2924944"/>
            <a:ext cx="309310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800" b="1" dirty="0">
                <a:latin typeface="Times New Roman" pitchFamily="18" charset="0"/>
                <a:cs typeface="Times New Roman" pitchFamily="18" charset="0"/>
              </a:rPr>
              <a:t>2</a:t>
            </a:r>
            <a:r>
              <a:rPr lang="ru-RU" sz="2800" b="1" dirty="0" smtClean="0">
                <a:latin typeface="Times New Roman" pitchFamily="18" charset="0"/>
                <a:cs typeface="Times New Roman" pitchFamily="18" charset="0"/>
              </a:rPr>
              <a:t>5 </a:t>
            </a:r>
            <a:r>
              <a:rPr lang="ru-RU" sz="2800" b="1" dirty="0">
                <a:latin typeface="Times New Roman" pitchFamily="18" charset="0"/>
                <a:cs typeface="Times New Roman" pitchFamily="18" charset="0"/>
              </a:rPr>
              <a:t>августа </a:t>
            </a:r>
            <a:endParaRPr lang="en-US" sz="2800" b="1" dirty="0">
              <a:latin typeface="Times New Roman" pitchFamily="18" charset="0"/>
              <a:cs typeface="Times New Roman" pitchFamily="18" charset="0"/>
            </a:endParaRPr>
          </a:p>
          <a:p>
            <a:r>
              <a:rPr lang="ru-RU" sz="2800" b="1" dirty="0">
                <a:latin typeface="Times New Roman" pitchFamily="18" charset="0"/>
                <a:cs typeface="Times New Roman" pitchFamily="18" charset="0"/>
              </a:rPr>
              <a:t>2021</a:t>
            </a:r>
            <a:r>
              <a:rPr lang="en-US" sz="2800" b="1" dirty="0"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2800" b="1" dirty="0">
                <a:latin typeface="Times New Roman" pitchFamily="18" charset="0"/>
                <a:cs typeface="Times New Roman" pitchFamily="18" charset="0"/>
              </a:rPr>
              <a:t>года</a:t>
            </a:r>
          </a:p>
        </p:txBody>
      </p:sp>
      <p:sp>
        <p:nvSpPr>
          <p:cNvPr id="18" name="Прямоугольник 17">
            <a:extLst>
              <a:ext uri="{FF2B5EF4-FFF2-40B4-BE49-F238E27FC236}">
                <a16:creationId xmlns="" xmlns:a16="http://schemas.microsoft.com/office/drawing/2014/main" id="{B61B4A80-E11A-844E-89F1-A15688B7D501}"/>
              </a:ext>
            </a:extLst>
          </p:cNvPr>
          <p:cNvSpPr/>
          <p:nvPr/>
        </p:nvSpPr>
        <p:spPr>
          <a:xfrm>
            <a:off x="1415480" y="4221088"/>
            <a:ext cx="4032448" cy="216024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>
                <a:lumMod val="75000"/>
              </a:schemeClr>
            </a:solidFill>
          </a:ln>
          <a:effectLst>
            <a:outerShdw blurRad="50800" dist="635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80000" rtlCol="0" anchor="ctr"/>
          <a:lstStyle/>
          <a:p>
            <a:r>
              <a:rPr lang="ru-RU" sz="2400" dirty="0" smtClean="0">
                <a:solidFill>
                  <a:srgbClr val="3A6E8E"/>
                </a:solidFill>
                <a:latin typeface="Times New Roman" pitchFamily="18" charset="0"/>
                <a:cs typeface="Times New Roman" pitchFamily="18" charset="0"/>
              </a:rPr>
              <a:t>Единый информационный ресурс </a:t>
            </a:r>
            <a:r>
              <a:rPr lang="en-US" sz="2400" b="1" dirty="0" smtClean="0">
                <a:solidFill>
                  <a:srgbClr val="3A6E8E"/>
                </a:solidFill>
                <a:latin typeface="Times New Roman" pitchFamily="18" charset="0"/>
                <a:cs typeface="Times New Roman" pitchFamily="18" charset="0"/>
              </a:rPr>
              <a:t>edsoo.ru</a:t>
            </a:r>
            <a:r>
              <a:rPr lang="ru-RU" sz="2400" dirty="0" smtClean="0">
                <a:solidFill>
                  <a:srgbClr val="3A6E8E"/>
                </a:solidFill>
                <a:latin typeface="Times New Roman" pitchFamily="18" charset="0"/>
                <a:cs typeface="Times New Roman" pitchFamily="18" charset="0"/>
              </a:rPr>
              <a:t> </a:t>
            </a:r>
          </a:p>
          <a:p>
            <a:pPr>
              <a:buFontTx/>
              <a:buChar char="-"/>
            </a:pPr>
            <a:r>
              <a:rPr lang="ru-RU" sz="2400" dirty="0" smtClean="0">
                <a:solidFill>
                  <a:srgbClr val="3A6E8E"/>
                </a:solidFill>
                <a:latin typeface="Times New Roman" pitchFamily="18" charset="0"/>
                <a:cs typeface="Times New Roman" pitchFamily="18" charset="0"/>
              </a:rPr>
              <a:t>размещение методических материалов,</a:t>
            </a:r>
          </a:p>
          <a:p>
            <a:pPr>
              <a:buFontTx/>
              <a:buChar char="-"/>
            </a:pPr>
            <a:r>
              <a:rPr lang="ru-RU" sz="2400" dirty="0" smtClean="0">
                <a:solidFill>
                  <a:srgbClr val="3A6E8E"/>
                </a:solidFill>
                <a:latin typeface="Times New Roman" pitchFamily="18" charset="0"/>
                <a:cs typeface="Times New Roman" pitchFamily="18" charset="0"/>
              </a:rPr>
              <a:t> конструктор рабочих программ</a:t>
            </a:r>
            <a:endParaRPr lang="en-US" sz="2400" dirty="0">
              <a:solidFill>
                <a:srgbClr val="3A6E8E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23392" y="1268760"/>
            <a:ext cx="10657184" cy="1352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312024" y="2564904"/>
            <a:ext cx="4997088" cy="39878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5366542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Треугольник 16">
            <a:extLst>
              <a:ext uri="{FF2B5EF4-FFF2-40B4-BE49-F238E27FC236}">
                <a16:creationId xmlns="" xmlns:a16="http://schemas.microsoft.com/office/drawing/2014/main" id="{F4D2A1B6-61FF-5344-A317-550AEFED395E}"/>
              </a:ext>
            </a:extLst>
          </p:cNvPr>
          <p:cNvSpPr/>
          <p:nvPr/>
        </p:nvSpPr>
        <p:spPr>
          <a:xfrm rot="5400000">
            <a:off x="4228079" y="-1404403"/>
            <a:ext cx="3139321" cy="9484602"/>
          </a:xfrm>
          <a:prstGeom prst="triangle">
            <a:avLst>
              <a:gd name="adj" fmla="val 0"/>
            </a:avLst>
          </a:prstGeom>
          <a:solidFill>
            <a:srgbClr val="ECDFF5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10134600" y="6492875"/>
            <a:ext cx="2057400" cy="365125"/>
          </a:xfrm>
        </p:spPr>
        <p:txBody>
          <a:bodyPr/>
          <a:lstStyle/>
          <a:p>
            <a:fld id="{A4193B10-D779-4ADC-9156-ADC21C4AA330}" type="slidenum">
              <a:rPr lang="ru-RU" smtClean="0"/>
              <a:pPr/>
              <a:t>21</a:t>
            </a:fld>
            <a:endParaRPr lang="ru-RU" dirty="0"/>
          </a:p>
        </p:txBody>
      </p:sp>
      <p:sp>
        <p:nvSpPr>
          <p:cNvPr id="14" name="TextBox 13">
            <a:extLst>
              <a:ext uri="{FF2B5EF4-FFF2-40B4-BE49-F238E27FC236}">
                <a16:creationId xmlns="" xmlns:a16="http://schemas.microsoft.com/office/drawing/2014/main" id="{8FE8C066-DB83-4924-A63D-CFD5FEA5164A}"/>
              </a:ext>
            </a:extLst>
          </p:cNvPr>
          <p:cNvSpPr txBox="1"/>
          <p:nvPr/>
        </p:nvSpPr>
        <p:spPr>
          <a:xfrm>
            <a:off x="1055440" y="133182"/>
            <a:ext cx="77048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solidFill>
                  <a:srgbClr val="6D276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учно-методическое сопровождение ФГОС: конструктор рабочих программ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="" xmlns:a16="http://schemas.microsoft.com/office/drawing/2014/main" id="{355276B8-3080-49DF-9256-7FD80AB39B57}"/>
              </a:ext>
            </a:extLst>
          </p:cNvPr>
          <p:cNvSpPr txBox="1"/>
          <p:nvPr/>
        </p:nvSpPr>
        <p:spPr>
          <a:xfrm>
            <a:off x="1199456" y="1810946"/>
            <a:ext cx="9340586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spcAft>
                <a:spcPts val="600"/>
              </a:spcAft>
            </a:pP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римерная рабочая программа основного общего образования.</a:t>
            </a:r>
          </a:p>
          <a:p>
            <a:pPr marL="342900" indent="-342900" algn="just">
              <a:spcAft>
                <a:spcPts val="600"/>
              </a:spcAft>
              <a:buFont typeface="+mj-lt"/>
              <a:buAutoNum type="arabicPeriod"/>
            </a:pP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яснительная записка, включающая: цели обучения, общая характеристика предмета, место предмета в учебном плане.</a:t>
            </a:r>
          </a:p>
          <a:p>
            <a:pPr marL="342900" indent="-342900" algn="just">
              <a:buFont typeface="+mj-lt"/>
              <a:buAutoNum type="arabicPeriod"/>
            </a:pP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ланируемые результаты освоения примерной рабочей программы:</a:t>
            </a:r>
          </a:p>
          <a:p>
            <a:pPr algn="just"/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- личностные;</a:t>
            </a:r>
          </a:p>
          <a:p>
            <a:pPr algn="just"/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- метапредметные;</a:t>
            </a:r>
          </a:p>
          <a:p>
            <a:pPr algn="just">
              <a:spcAft>
                <a:spcPts val="600"/>
              </a:spcAft>
            </a:pP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 - предметные (по годам обучения).</a:t>
            </a:r>
          </a:p>
          <a:p>
            <a:pPr algn="just">
              <a:spcAft>
                <a:spcPts val="600"/>
              </a:spcAft>
            </a:pP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ичностные и метапредметные результаты раскрываются на основе обновленного ФГОС ООО с учетом специфики предмета.</a:t>
            </a:r>
          </a:p>
          <a:p>
            <a:pPr algn="just">
              <a:spcAft>
                <a:spcPts val="600"/>
              </a:spcAft>
            </a:pP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Содержание учебных предметов по годам обучения.</a:t>
            </a:r>
          </a:p>
          <a:p>
            <a:pPr algn="just">
              <a:spcAft>
                <a:spcPts val="600"/>
              </a:spcAft>
            </a:pPr>
            <a:r>
              <a:rPr lang="ru-RU" sz="19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. Тематическое планирование.</a:t>
            </a:r>
          </a:p>
        </p:txBody>
      </p:sp>
      <p:graphicFrame>
        <p:nvGraphicFramePr>
          <p:cNvPr id="16" name="Таблица 7">
            <a:extLst>
              <a:ext uri="{FF2B5EF4-FFF2-40B4-BE49-F238E27FC236}">
                <a16:creationId xmlns="" xmlns:a16="http://schemas.microsoft.com/office/drawing/2014/main" id="{9A647EF1-ABE0-4DC5-A59F-819D7C5414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70791662"/>
              </p:ext>
            </p:extLst>
          </p:nvPr>
        </p:nvGraphicFramePr>
        <p:xfrm>
          <a:off x="1901828" y="5725640"/>
          <a:ext cx="9340587" cy="94996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tblPr>
              <a:tblGrid>
                <a:gridCol w="2965691">
                  <a:extLst>
                    <a:ext uri="{9D8B030D-6E8A-4147-A177-3AD203B41FA5}">
                      <a16:colId xmlns="" xmlns:a16="http://schemas.microsoft.com/office/drawing/2014/main" val="628306000"/>
                    </a:ext>
                  </a:extLst>
                </a:gridCol>
                <a:gridCol w="2916686">
                  <a:extLst>
                    <a:ext uri="{9D8B030D-6E8A-4147-A177-3AD203B41FA5}">
                      <a16:colId xmlns="" xmlns:a16="http://schemas.microsoft.com/office/drawing/2014/main" val="2791626465"/>
                    </a:ext>
                  </a:extLst>
                </a:gridCol>
                <a:gridCol w="3458210">
                  <a:extLst>
                    <a:ext uri="{9D8B030D-6E8A-4147-A177-3AD203B41FA5}">
                      <a16:colId xmlns="" xmlns:a16="http://schemas.microsoft.com/office/drawing/2014/main" val="331737384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rgbClr val="6D276A"/>
                          </a:solidFill>
                          <a:latin typeface="Bookman Old Style" panose="02050604050505020204" pitchFamily="18" charset="0"/>
                        </a:rPr>
                        <a:t>Тематические блоки, темы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rgbClr val="6D276A"/>
                          </a:solidFill>
                          <a:latin typeface="Bookman Old Style" panose="02050604050505020204" pitchFamily="18" charset="0"/>
                        </a:rPr>
                        <a:t>Основное содержание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>
                          <a:solidFill>
                            <a:srgbClr val="6D276A"/>
                          </a:solidFill>
                          <a:latin typeface="Bookman Old Style" panose="02050604050505020204" pitchFamily="18" charset="0"/>
                        </a:rPr>
                        <a:t>Основные виды деятельности обучающихся</a:t>
                      </a: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0746228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 dirty="0">
                        <a:solidFill>
                          <a:srgbClr val="6D276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rgbClr val="6D276A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rgbClr val="6D276A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10926433"/>
                  </a:ext>
                </a:extLst>
              </a:tr>
            </a:tbl>
          </a:graphicData>
        </a:graphic>
      </p:graphicFrame>
      <p:pic>
        <p:nvPicPr>
          <p:cNvPr id="11" name="Picture 2">
            <a:extLst>
              <a:ext uri="{FF2B5EF4-FFF2-40B4-BE49-F238E27FC236}">
                <a16:creationId xmlns="" xmlns:a16="http://schemas.microsoft.com/office/drawing/2014/main" id="{7EACC91D-B5D3-B04F-AB4F-D9B043E6CA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36" y="50303"/>
            <a:ext cx="744583" cy="99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2" name="Прямая соединительная линия 11">
            <a:extLst>
              <a:ext uri="{FF2B5EF4-FFF2-40B4-BE49-F238E27FC236}">
                <a16:creationId xmlns="" xmlns:a16="http://schemas.microsoft.com/office/drawing/2014/main" id="{6C9560E9-626D-884F-A622-DDA6B710DE87}"/>
              </a:ext>
            </a:extLst>
          </p:cNvPr>
          <p:cNvCxnSpPr/>
          <p:nvPr/>
        </p:nvCxnSpPr>
        <p:spPr>
          <a:xfrm>
            <a:off x="0" y="1196752"/>
            <a:ext cx="5303912" cy="0"/>
          </a:xfrm>
          <a:prstGeom prst="line">
            <a:avLst/>
          </a:prstGeom>
          <a:ln w="15875">
            <a:solidFill>
              <a:srgbClr val="3A6E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>
            <a:extLst>
              <a:ext uri="{FF2B5EF4-FFF2-40B4-BE49-F238E27FC236}">
                <a16:creationId xmlns="" xmlns:a16="http://schemas.microsoft.com/office/drawing/2014/main" id="{A792A72D-5B29-EF4F-A924-D29955287E0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661" y="5750884"/>
            <a:ext cx="883553" cy="89947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="" xmlns:a16="http://schemas.microsoft.com/office/drawing/2014/main" id="{A822ED8C-4DFC-814C-A995-B24EB55971F3}"/>
              </a:ext>
            </a:extLst>
          </p:cNvPr>
          <p:cNvSpPr txBox="1"/>
          <p:nvPr/>
        </p:nvSpPr>
        <p:spPr>
          <a:xfrm>
            <a:off x="1055440" y="1272583"/>
            <a:ext cx="6091740" cy="49686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14350" indent="-514350" algn="just">
              <a:lnSpc>
                <a:spcPct val="120000"/>
              </a:lnSpc>
              <a:spcBef>
                <a:spcPts val="0"/>
              </a:spcBef>
              <a:buNone/>
            </a:pPr>
            <a:r>
              <a:rPr lang="ru-RU" sz="2400" b="1" dirty="0">
                <a:latin typeface="Times New Roman" pitchFamily="18" charset="0"/>
                <a:cs typeface="Times New Roman" pitchFamily="18" charset="0"/>
              </a:rPr>
              <a:t>Единая схема для программ</a:t>
            </a:r>
          </a:p>
        </p:txBody>
      </p:sp>
    </p:spTree>
    <p:extLst>
      <p:ext uri="{BB962C8B-B14F-4D97-AF65-F5344CB8AC3E}">
        <p14:creationId xmlns:p14="http://schemas.microsoft.com/office/powerpoint/2010/main" val="7386041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Текст 5"/>
          <p:cNvSpPr>
            <a:spLocks noGrp="1"/>
          </p:cNvSpPr>
          <p:nvPr>
            <p:ph type="body" sz="half" idx="2"/>
          </p:nvPr>
        </p:nvSpPr>
        <p:spPr>
          <a:xfrm>
            <a:off x="4782330" y="5652822"/>
            <a:ext cx="4176585" cy="560192"/>
          </a:xfrm>
        </p:spPr>
        <p:txBody>
          <a:bodyPr>
            <a:noAutofit/>
          </a:bodyPr>
          <a:lstStyle/>
          <a:p>
            <a:r>
              <a:rPr lang="en-US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www.instrao.ru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734684" y="2385609"/>
            <a:ext cx="6917991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!</a:t>
            </a:r>
          </a:p>
          <a:p>
            <a:r>
              <a:rPr lang="ru-RU" sz="3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товы к сотрудничеству!</a:t>
            </a:r>
          </a:p>
        </p:txBody>
      </p:sp>
      <p:sp>
        <p:nvSpPr>
          <p:cNvPr id="4" name="Rectangle 1"/>
          <p:cNvSpPr>
            <a:spLocks noChangeArrowheads="1"/>
          </p:cNvSpPr>
          <p:nvPr/>
        </p:nvSpPr>
        <p:spPr bwMode="auto">
          <a:xfrm>
            <a:off x="5895976" y="-151319"/>
            <a:ext cx="65" cy="302639"/>
          </a:xfrm>
          <a:prstGeom prst="rect">
            <a:avLst/>
          </a:prstGeom>
          <a:solidFill>
            <a:srgbClr val="F9F9F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25392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endParaRPr lang="ru-RU" altLang="ru-RU" dirty="0"/>
          </a:p>
        </p:txBody>
      </p:sp>
      <p:sp>
        <p:nvSpPr>
          <p:cNvPr id="13" name="Текст 5"/>
          <p:cNvSpPr txBox="1">
            <a:spLocks/>
          </p:cNvSpPr>
          <p:nvPr/>
        </p:nvSpPr>
        <p:spPr>
          <a:xfrm>
            <a:off x="4772455" y="5082496"/>
            <a:ext cx="4176585" cy="5601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indent="0">
              <a:spcBef>
                <a:spcPct val="20000"/>
              </a:spcBef>
              <a:buFont typeface="Arial" pitchFamily="34" charset="0"/>
              <a:buNone/>
              <a:defRPr sz="4000">
                <a:solidFill>
                  <a:srgbClr val="41708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indent="0">
              <a:spcBef>
                <a:spcPct val="20000"/>
              </a:spcBef>
              <a:buFont typeface="Arial" pitchFamily="34" charset="0"/>
              <a:buNone/>
              <a:defRPr sz="1200"/>
            </a:lvl2pPr>
            <a:lvl3pPr indent="0">
              <a:spcBef>
                <a:spcPct val="20000"/>
              </a:spcBef>
              <a:buFont typeface="Arial" pitchFamily="34" charset="0"/>
              <a:buNone/>
              <a:defRPr sz="1000"/>
            </a:lvl3pPr>
            <a:lvl4pPr indent="0">
              <a:spcBef>
                <a:spcPct val="20000"/>
              </a:spcBef>
              <a:buFont typeface="Arial" pitchFamily="34" charset="0"/>
              <a:buNone/>
              <a:defRPr sz="900"/>
            </a:lvl4pPr>
            <a:lvl5pPr indent="0">
              <a:spcBef>
                <a:spcPct val="20000"/>
              </a:spcBef>
              <a:buFont typeface="Arial" pitchFamily="34" charset="0"/>
              <a:buNone/>
              <a:defRPr sz="900"/>
            </a:lvl5pPr>
            <a:lvl6pPr indent="0">
              <a:spcBef>
                <a:spcPct val="20000"/>
              </a:spcBef>
              <a:buFont typeface="Arial" pitchFamily="34" charset="0"/>
              <a:buNone/>
              <a:defRPr sz="900"/>
            </a:lvl6pPr>
            <a:lvl7pPr indent="0">
              <a:spcBef>
                <a:spcPct val="20000"/>
              </a:spcBef>
              <a:buFont typeface="Arial" pitchFamily="34" charset="0"/>
              <a:buNone/>
              <a:defRPr sz="900"/>
            </a:lvl7pPr>
            <a:lvl8pPr indent="0">
              <a:spcBef>
                <a:spcPct val="20000"/>
              </a:spcBef>
              <a:buFont typeface="Arial" pitchFamily="34" charset="0"/>
              <a:buNone/>
              <a:defRPr sz="900"/>
            </a:lvl8pPr>
            <a:lvl9pPr indent="0">
              <a:spcBef>
                <a:spcPct val="20000"/>
              </a:spcBef>
              <a:buFont typeface="Arial" pitchFamily="34" charset="0"/>
              <a:buNone/>
              <a:defRPr sz="900"/>
            </a:lvl9pPr>
          </a:lstStyle>
          <a:p>
            <a:r>
              <a:rPr lang="en-US" sz="2400" dirty="0">
                <a:solidFill>
                  <a:schemeClr val="tx1"/>
                </a:solidFill>
              </a:rPr>
              <a:t>info@instrao.ru</a:t>
            </a:r>
          </a:p>
        </p:txBody>
      </p:sp>
      <p:pic>
        <p:nvPicPr>
          <p:cNvPr id="16" name="Picture 2">
            <a:extLst>
              <a:ext uri="{FF2B5EF4-FFF2-40B4-BE49-F238E27FC236}">
                <a16:creationId xmlns="" xmlns:a16="http://schemas.microsoft.com/office/drawing/2014/main" id="{F1E2390E-4817-3746-8B29-904613816FB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31504" y="769863"/>
            <a:ext cx="744583" cy="99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17" name="Прямая соединительная линия 16">
            <a:extLst>
              <a:ext uri="{FF2B5EF4-FFF2-40B4-BE49-F238E27FC236}">
                <a16:creationId xmlns="" xmlns:a16="http://schemas.microsoft.com/office/drawing/2014/main" id="{CCF239E9-8EB8-A040-A639-0B44CBC864B9}"/>
              </a:ext>
            </a:extLst>
          </p:cNvPr>
          <p:cNvCxnSpPr/>
          <p:nvPr/>
        </p:nvCxnSpPr>
        <p:spPr>
          <a:xfrm>
            <a:off x="2495600" y="1766619"/>
            <a:ext cx="5303912" cy="0"/>
          </a:xfrm>
          <a:prstGeom prst="line">
            <a:avLst/>
          </a:prstGeom>
          <a:ln w="15875">
            <a:solidFill>
              <a:srgbClr val="3A6E8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>
            <a:extLst>
              <a:ext uri="{FF2B5EF4-FFF2-40B4-BE49-F238E27FC236}">
                <a16:creationId xmlns="" xmlns:a16="http://schemas.microsoft.com/office/drawing/2014/main" id="{6265180F-36E2-E34C-A3F5-035D3DBD5080}"/>
              </a:ext>
            </a:extLst>
          </p:cNvPr>
          <p:cNvSpPr txBox="1">
            <a:spLocks/>
          </p:cNvSpPr>
          <p:nvPr/>
        </p:nvSpPr>
        <p:spPr>
          <a:xfrm>
            <a:off x="2803823" y="1049428"/>
            <a:ext cx="4176585" cy="5601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b="1" dirty="0">
                <a:solidFill>
                  <a:srgbClr val="6D276A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ГБНУ ИСРО РАО</a:t>
            </a:r>
            <a:endParaRPr lang="en-US" sz="2800" b="1" dirty="0">
              <a:solidFill>
                <a:srgbClr val="6D276A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>
            <a:extLst>
              <a:ext uri="{FF2B5EF4-FFF2-40B4-BE49-F238E27FC236}">
                <a16:creationId xmlns="" xmlns:a16="http://schemas.microsoft.com/office/drawing/2014/main" id="{75BE4954-39BB-114D-9272-6434D6F2732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1461" y="4384235"/>
            <a:ext cx="580091" cy="575002"/>
          </a:xfrm>
          <a:prstGeom prst="rect">
            <a:avLst/>
          </a:prstGeom>
        </p:spPr>
      </p:pic>
      <p:pic>
        <p:nvPicPr>
          <p:cNvPr id="19" name="Рисунок 18">
            <a:extLst>
              <a:ext uri="{FF2B5EF4-FFF2-40B4-BE49-F238E27FC236}">
                <a16:creationId xmlns="" xmlns:a16="http://schemas.microsoft.com/office/drawing/2014/main" id="{B50FE258-7507-B045-86D4-6F71B1AE45C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1461" y="5013176"/>
            <a:ext cx="575002" cy="575002"/>
          </a:xfrm>
          <a:prstGeom prst="rect">
            <a:avLst/>
          </a:prstGeom>
        </p:spPr>
      </p:pic>
      <p:pic>
        <p:nvPicPr>
          <p:cNvPr id="21" name="Рисунок 20">
            <a:extLst>
              <a:ext uri="{FF2B5EF4-FFF2-40B4-BE49-F238E27FC236}">
                <a16:creationId xmlns="" xmlns:a16="http://schemas.microsoft.com/office/drawing/2014/main" id="{E11ED5DF-E93E-5149-B22D-A94A634F9291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1461" y="5655484"/>
            <a:ext cx="575002" cy="580091"/>
          </a:xfrm>
          <a:prstGeom prst="rect">
            <a:avLst/>
          </a:prstGeom>
        </p:spPr>
      </p:pic>
      <p:pic>
        <p:nvPicPr>
          <p:cNvPr id="23" name="Рисунок 22">
            <a:extLst>
              <a:ext uri="{FF2B5EF4-FFF2-40B4-BE49-F238E27FC236}">
                <a16:creationId xmlns="" xmlns:a16="http://schemas.microsoft.com/office/drawing/2014/main" id="{7DED801D-8888-6848-A38F-B5AF51D21156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51461" y="3718094"/>
            <a:ext cx="575002" cy="575002"/>
          </a:xfrm>
          <a:prstGeom prst="rect">
            <a:avLst/>
          </a:prstGeom>
        </p:spPr>
      </p:pic>
      <p:sp>
        <p:nvSpPr>
          <p:cNvPr id="24" name="Текст 5">
            <a:extLst>
              <a:ext uri="{FF2B5EF4-FFF2-40B4-BE49-F238E27FC236}">
                <a16:creationId xmlns="" xmlns:a16="http://schemas.microsoft.com/office/drawing/2014/main" id="{77732139-4E20-9145-BD0F-024979FF5A17}"/>
              </a:ext>
            </a:extLst>
          </p:cNvPr>
          <p:cNvSpPr txBox="1">
            <a:spLocks/>
          </p:cNvSpPr>
          <p:nvPr/>
        </p:nvSpPr>
        <p:spPr>
          <a:xfrm>
            <a:off x="4772455" y="4452984"/>
            <a:ext cx="4176585" cy="5601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indent="0">
              <a:spcBef>
                <a:spcPct val="20000"/>
              </a:spcBef>
              <a:buFont typeface="Arial" pitchFamily="34" charset="0"/>
              <a:buNone/>
              <a:defRPr sz="4000">
                <a:solidFill>
                  <a:srgbClr val="41708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indent="0">
              <a:spcBef>
                <a:spcPct val="20000"/>
              </a:spcBef>
              <a:buFont typeface="Arial" pitchFamily="34" charset="0"/>
              <a:buNone/>
              <a:defRPr sz="1200"/>
            </a:lvl2pPr>
            <a:lvl3pPr indent="0">
              <a:spcBef>
                <a:spcPct val="20000"/>
              </a:spcBef>
              <a:buFont typeface="Arial" pitchFamily="34" charset="0"/>
              <a:buNone/>
              <a:defRPr sz="1000"/>
            </a:lvl3pPr>
            <a:lvl4pPr indent="0">
              <a:spcBef>
                <a:spcPct val="20000"/>
              </a:spcBef>
              <a:buFont typeface="Arial" pitchFamily="34" charset="0"/>
              <a:buNone/>
              <a:defRPr sz="900"/>
            </a:lvl4pPr>
            <a:lvl5pPr indent="0">
              <a:spcBef>
                <a:spcPct val="20000"/>
              </a:spcBef>
              <a:buFont typeface="Arial" pitchFamily="34" charset="0"/>
              <a:buNone/>
              <a:defRPr sz="900"/>
            </a:lvl5pPr>
            <a:lvl6pPr indent="0">
              <a:spcBef>
                <a:spcPct val="20000"/>
              </a:spcBef>
              <a:buFont typeface="Arial" pitchFamily="34" charset="0"/>
              <a:buNone/>
              <a:defRPr sz="900"/>
            </a:lvl6pPr>
            <a:lvl7pPr indent="0">
              <a:spcBef>
                <a:spcPct val="20000"/>
              </a:spcBef>
              <a:buFont typeface="Arial" pitchFamily="34" charset="0"/>
              <a:buNone/>
              <a:defRPr sz="900"/>
            </a:lvl7pPr>
            <a:lvl8pPr indent="0">
              <a:spcBef>
                <a:spcPct val="20000"/>
              </a:spcBef>
              <a:buFont typeface="Arial" pitchFamily="34" charset="0"/>
              <a:buNone/>
              <a:defRPr sz="900"/>
            </a:lvl8pPr>
            <a:lvl9pPr indent="0">
              <a:spcBef>
                <a:spcPct val="20000"/>
              </a:spcBef>
              <a:buFont typeface="Arial" pitchFamily="34" charset="0"/>
              <a:buNone/>
              <a:defRPr sz="900"/>
            </a:lvl9pPr>
          </a:lstStyle>
          <a:p>
            <a:r>
              <a:rPr lang="ru-RU" sz="2400" dirty="0">
                <a:solidFill>
                  <a:schemeClr val="tx1"/>
                </a:solidFill>
              </a:rPr>
              <a:t>+7(495)621-33-74</a:t>
            </a:r>
            <a:endParaRPr lang="en-US" sz="2400" dirty="0">
              <a:solidFill>
                <a:schemeClr val="tx1"/>
              </a:solidFill>
            </a:endParaRPr>
          </a:p>
        </p:txBody>
      </p:sp>
      <p:sp>
        <p:nvSpPr>
          <p:cNvPr id="25" name="Текст 5">
            <a:extLst>
              <a:ext uri="{FF2B5EF4-FFF2-40B4-BE49-F238E27FC236}">
                <a16:creationId xmlns="" xmlns:a16="http://schemas.microsoft.com/office/drawing/2014/main" id="{66DF3BB3-9ED7-D34D-A55E-52D7EF2FAB8F}"/>
              </a:ext>
            </a:extLst>
          </p:cNvPr>
          <p:cNvSpPr txBox="1">
            <a:spLocks/>
          </p:cNvSpPr>
          <p:nvPr/>
        </p:nvSpPr>
        <p:spPr>
          <a:xfrm>
            <a:off x="4772455" y="3669330"/>
            <a:ext cx="3560515" cy="56019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indent="0">
              <a:spcBef>
                <a:spcPct val="20000"/>
              </a:spcBef>
              <a:buFont typeface="Arial" pitchFamily="34" charset="0"/>
              <a:buNone/>
              <a:defRPr sz="4000">
                <a:solidFill>
                  <a:srgbClr val="41708E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indent="0">
              <a:spcBef>
                <a:spcPct val="20000"/>
              </a:spcBef>
              <a:buFont typeface="Arial" pitchFamily="34" charset="0"/>
              <a:buNone/>
              <a:defRPr sz="1200"/>
            </a:lvl2pPr>
            <a:lvl3pPr indent="0">
              <a:spcBef>
                <a:spcPct val="20000"/>
              </a:spcBef>
              <a:buFont typeface="Arial" pitchFamily="34" charset="0"/>
              <a:buNone/>
              <a:defRPr sz="1000"/>
            </a:lvl3pPr>
            <a:lvl4pPr indent="0">
              <a:spcBef>
                <a:spcPct val="20000"/>
              </a:spcBef>
              <a:buFont typeface="Arial" pitchFamily="34" charset="0"/>
              <a:buNone/>
              <a:defRPr sz="900"/>
            </a:lvl4pPr>
            <a:lvl5pPr indent="0">
              <a:spcBef>
                <a:spcPct val="20000"/>
              </a:spcBef>
              <a:buFont typeface="Arial" pitchFamily="34" charset="0"/>
              <a:buNone/>
              <a:defRPr sz="900"/>
            </a:lvl5pPr>
            <a:lvl6pPr indent="0">
              <a:spcBef>
                <a:spcPct val="20000"/>
              </a:spcBef>
              <a:buFont typeface="Arial" pitchFamily="34" charset="0"/>
              <a:buNone/>
              <a:defRPr sz="900"/>
            </a:lvl6pPr>
            <a:lvl7pPr indent="0">
              <a:spcBef>
                <a:spcPct val="20000"/>
              </a:spcBef>
              <a:buFont typeface="Arial" pitchFamily="34" charset="0"/>
              <a:buNone/>
              <a:defRPr sz="900"/>
            </a:lvl7pPr>
            <a:lvl8pPr indent="0">
              <a:spcBef>
                <a:spcPct val="20000"/>
              </a:spcBef>
              <a:buFont typeface="Arial" pitchFamily="34" charset="0"/>
              <a:buNone/>
              <a:defRPr sz="900"/>
            </a:lvl8pPr>
            <a:lvl9pPr indent="0">
              <a:spcBef>
                <a:spcPct val="20000"/>
              </a:spcBef>
              <a:buFont typeface="Arial" pitchFamily="34" charset="0"/>
              <a:buNone/>
              <a:defRPr sz="900"/>
            </a:lvl9pPr>
          </a:lstStyle>
          <a:p>
            <a:r>
              <a:rPr lang="en-US" sz="2400" dirty="0">
                <a:solidFill>
                  <a:schemeClr val="tx1"/>
                </a:solidFill>
              </a:rPr>
              <a:t>105062</a:t>
            </a:r>
            <a:r>
              <a:rPr lang="ru-RU" sz="2400" dirty="0">
                <a:solidFill>
                  <a:schemeClr val="tx1"/>
                </a:solidFill>
              </a:rPr>
              <a:t>, г. Москва, </a:t>
            </a:r>
            <a:br>
              <a:rPr lang="ru-RU" sz="2400" dirty="0">
                <a:solidFill>
                  <a:schemeClr val="tx1"/>
                </a:solidFill>
              </a:rPr>
            </a:br>
            <a:r>
              <a:rPr lang="ru-RU" sz="2400" dirty="0">
                <a:solidFill>
                  <a:schemeClr val="tx1"/>
                </a:solidFill>
              </a:rPr>
              <a:t>ул. Жуковского, </a:t>
            </a:r>
            <a:r>
              <a:rPr lang="en-US" sz="2400" dirty="0">
                <a:solidFill>
                  <a:schemeClr val="tx1"/>
                </a:solidFill>
              </a:rPr>
              <a:t>16</a:t>
            </a:r>
          </a:p>
        </p:txBody>
      </p:sp>
    </p:spTree>
    <p:extLst>
      <p:ext uri="{BB962C8B-B14F-4D97-AF65-F5344CB8AC3E}">
        <p14:creationId xmlns:p14="http://schemas.microsoft.com/office/powerpoint/2010/main" val="2247354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634082"/>
          </a:xfrm>
        </p:spPr>
        <p:txBody>
          <a:bodyPr>
            <a:normAutofit fontScale="90000"/>
          </a:bodyPr>
          <a:lstStyle/>
          <a:p>
            <a:r>
              <a:rPr lang="ru-RU" dirty="0" smtClean="0"/>
              <a:t>Обновленные ФГОС</a:t>
            </a:r>
            <a:endParaRPr lang="ru-RU" dirty="0"/>
          </a:p>
        </p:txBody>
      </p:sp>
      <p:graphicFrame>
        <p:nvGraphicFramePr>
          <p:cNvPr id="6" name="Объект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37020554"/>
              </p:ext>
            </p:extLst>
          </p:nvPr>
        </p:nvGraphicFramePr>
        <p:xfrm>
          <a:off x="609600" y="980728"/>
          <a:ext cx="11055019" cy="56166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pic>
        <p:nvPicPr>
          <p:cNvPr id="5" name="Picture 2">
            <a:extLst>
              <a:ext uri="{FF2B5EF4-FFF2-40B4-BE49-F238E27FC236}">
                <a16:creationId xmlns="" xmlns:a16="http://schemas.microsoft.com/office/drawing/2014/main" id="{E53F9E4F-6A61-7746-8056-12E8DC78D6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36" y="50303"/>
            <a:ext cx="744583" cy="99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3219431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/>
          </p:nvPr>
        </p:nvSpPr>
        <p:spPr>
          <a:xfrm>
            <a:off x="2447595" y="188640"/>
            <a:ext cx="9505056" cy="1440160"/>
          </a:xfrm>
        </p:spPr>
        <p:txBody>
          <a:bodyPr>
            <a:normAutofit/>
          </a:bodyPr>
          <a:lstStyle/>
          <a:p>
            <a:pPr algn="l"/>
            <a:r>
              <a:rPr lang="ru-RU" sz="2000" dirty="0" smtClean="0"/>
              <a:t>Ключевая педагогическая задача: </a:t>
            </a:r>
            <a:br>
              <a:rPr lang="ru-RU" sz="2000" dirty="0" smtClean="0"/>
            </a:br>
            <a:r>
              <a:rPr lang="ru-RU" sz="2000" dirty="0" smtClean="0"/>
              <a:t>создание условий инициирующих действие обучающегося</a:t>
            </a:r>
            <a:br>
              <a:rPr lang="ru-RU" sz="2000" dirty="0" smtClean="0"/>
            </a:br>
            <a:r>
              <a:rPr lang="ru-RU" sz="2000" dirty="0" smtClean="0"/>
              <a:t>Требования к результатам реализации ОП сформулированы в категориях системно-</a:t>
            </a:r>
            <a:r>
              <a:rPr lang="ru-RU" sz="2000" dirty="0" err="1" smtClean="0"/>
              <a:t>деятельностного</a:t>
            </a:r>
            <a:r>
              <a:rPr lang="ru-RU" sz="2000" dirty="0" smtClean="0"/>
              <a:t> подхода</a:t>
            </a:r>
            <a:endParaRPr lang="ru-RU" sz="2000" dirty="0"/>
          </a:p>
        </p:txBody>
      </p:sp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90238304"/>
              </p:ext>
            </p:extLst>
          </p:nvPr>
        </p:nvGraphicFramePr>
        <p:xfrm>
          <a:off x="239349" y="908720"/>
          <a:ext cx="9889099" cy="5544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7" name="Загнутый угол 6"/>
          <p:cNvSpPr/>
          <p:nvPr/>
        </p:nvSpPr>
        <p:spPr>
          <a:xfrm>
            <a:off x="10186299" y="1340768"/>
            <a:ext cx="1967541" cy="5040560"/>
          </a:xfrm>
          <a:prstGeom prst="foldedCorner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Формулировки личностных результатов:</a:t>
            </a:r>
          </a:p>
          <a:p>
            <a:r>
              <a:rPr lang="ru-RU" sz="1200" b="1" dirty="0" smtClean="0">
                <a:solidFill>
                  <a:schemeClr val="tx1"/>
                </a:solidFill>
              </a:rPr>
              <a:t>«ценностное отношение к…»</a:t>
            </a:r>
          </a:p>
          <a:p>
            <a:r>
              <a:rPr lang="ru-RU" sz="1200" b="1" dirty="0" smtClean="0">
                <a:solidFill>
                  <a:schemeClr val="tx1"/>
                </a:solidFill>
              </a:rPr>
              <a:t>«уважительное отношение к…»</a:t>
            </a:r>
          </a:p>
          <a:p>
            <a:r>
              <a:rPr lang="ru-RU" sz="1200" b="1" dirty="0" smtClean="0">
                <a:solidFill>
                  <a:schemeClr val="tx1"/>
                </a:solidFill>
              </a:rPr>
              <a:t>«интерес к…»</a:t>
            </a:r>
          </a:p>
          <a:p>
            <a:r>
              <a:rPr lang="ru-RU" sz="1200" b="1" dirty="0" smtClean="0">
                <a:solidFill>
                  <a:schemeClr val="tx1"/>
                </a:solidFill>
              </a:rPr>
              <a:t>______________</a:t>
            </a:r>
          </a:p>
          <a:p>
            <a:pPr algn="ctr"/>
            <a:r>
              <a:rPr lang="ru-RU" sz="1200" b="1" dirty="0">
                <a:solidFill>
                  <a:schemeClr val="tx1"/>
                </a:solidFill>
              </a:rPr>
              <a:t>Формулировки</a:t>
            </a:r>
            <a:r>
              <a:rPr lang="ru-RU" sz="1200" b="1" dirty="0" smtClean="0">
                <a:solidFill>
                  <a:schemeClr val="tx1"/>
                </a:solidFill>
              </a:rPr>
              <a:t> </a:t>
            </a:r>
            <a:r>
              <a:rPr lang="ru-RU" sz="1200" b="1" dirty="0" err="1" smtClean="0">
                <a:solidFill>
                  <a:schemeClr val="tx1"/>
                </a:solidFill>
              </a:rPr>
              <a:t>метапредметных</a:t>
            </a:r>
            <a:r>
              <a:rPr lang="ru-RU" sz="1200" b="1" dirty="0" smtClean="0">
                <a:solidFill>
                  <a:schemeClr val="tx1"/>
                </a:solidFill>
              </a:rPr>
              <a:t> результатов</a:t>
            </a:r>
          </a:p>
          <a:p>
            <a:r>
              <a:rPr lang="ru-RU" sz="1200" b="1" dirty="0" smtClean="0">
                <a:solidFill>
                  <a:schemeClr val="tx1"/>
                </a:solidFill>
              </a:rPr>
              <a:t>«находить…»</a:t>
            </a:r>
          </a:p>
          <a:p>
            <a:r>
              <a:rPr lang="ru-RU" sz="1200" b="1" dirty="0" smtClean="0">
                <a:solidFill>
                  <a:schemeClr val="tx1"/>
                </a:solidFill>
              </a:rPr>
              <a:t>«выявлять…»</a:t>
            </a:r>
          </a:p>
          <a:p>
            <a:r>
              <a:rPr lang="ru-RU" sz="1200" b="1" dirty="0" smtClean="0">
                <a:solidFill>
                  <a:schemeClr val="tx1"/>
                </a:solidFill>
              </a:rPr>
              <a:t>«устанавливать..»</a:t>
            </a:r>
          </a:p>
          <a:p>
            <a:r>
              <a:rPr lang="ru-RU" sz="1200" b="1" dirty="0" smtClean="0">
                <a:solidFill>
                  <a:schemeClr val="tx1"/>
                </a:solidFill>
              </a:rPr>
              <a:t>«выбирать…»</a:t>
            </a:r>
          </a:p>
          <a:p>
            <a:r>
              <a:rPr lang="ru-RU" sz="1200" b="1" dirty="0" smtClean="0">
                <a:solidFill>
                  <a:schemeClr val="tx1"/>
                </a:solidFill>
              </a:rPr>
              <a:t>-----------------------</a:t>
            </a:r>
          </a:p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Формулировки предметных результатов</a:t>
            </a:r>
          </a:p>
          <a:p>
            <a:r>
              <a:rPr lang="ru-RU" sz="1200" b="1" dirty="0" smtClean="0">
                <a:solidFill>
                  <a:schemeClr val="tx1"/>
                </a:solidFill>
              </a:rPr>
              <a:t>«осознавать…»</a:t>
            </a:r>
          </a:p>
          <a:p>
            <a:r>
              <a:rPr lang="ru-RU" sz="1200" b="1" dirty="0" smtClean="0">
                <a:solidFill>
                  <a:schemeClr val="tx1"/>
                </a:solidFill>
              </a:rPr>
              <a:t>«понимать…»</a:t>
            </a:r>
          </a:p>
          <a:p>
            <a:r>
              <a:rPr lang="ru-RU" sz="1200" b="1" dirty="0" smtClean="0">
                <a:solidFill>
                  <a:schemeClr val="tx1"/>
                </a:solidFill>
              </a:rPr>
              <a:t>«владеть…»</a:t>
            </a:r>
          </a:p>
          <a:p>
            <a:r>
              <a:rPr lang="ru-RU" sz="1200" b="1" dirty="0" smtClean="0">
                <a:solidFill>
                  <a:schemeClr val="tx1"/>
                </a:solidFill>
              </a:rPr>
              <a:t>«использовать…»</a:t>
            </a:r>
          </a:p>
          <a:p>
            <a:r>
              <a:rPr lang="ru-RU" sz="1200" b="1" dirty="0" smtClean="0">
                <a:solidFill>
                  <a:schemeClr val="tx1"/>
                </a:solidFill>
              </a:rPr>
              <a:t>«приобретение опыта…»</a:t>
            </a:r>
            <a:endParaRPr lang="ru-RU" sz="1200" b="1" dirty="0">
              <a:solidFill>
                <a:schemeClr val="tx1"/>
              </a:solidFill>
            </a:endParaRPr>
          </a:p>
        </p:txBody>
      </p:sp>
      <p:pic>
        <p:nvPicPr>
          <p:cNvPr id="8" name="Picture 2">
            <a:extLst>
              <a:ext uri="{FF2B5EF4-FFF2-40B4-BE49-F238E27FC236}">
                <a16:creationId xmlns="" xmlns:a16="http://schemas.microsoft.com/office/drawing/2014/main" id="{E53F9E4F-6A61-7746-8056-12E8DC78D6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360" y="0"/>
            <a:ext cx="744583" cy="99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919987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0869" y="904819"/>
            <a:ext cx="9025003" cy="3456384"/>
          </a:xfrm>
        </p:spPr>
      </p:pic>
      <p:sp>
        <p:nvSpPr>
          <p:cNvPr id="5" name="Штриховая стрелка вправо 4"/>
          <p:cNvSpPr/>
          <p:nvPr/>
        </p:nvSpPr>
        <p:spPr>
          <a:xfrm rot="5400000">
            <a:off x="3028659" y="1891224"/>
            <a:ext cx="942164" cy="5437957"/>
          </a:xfrm>
          <a:prstGeom prst="stripedRightArrow">
            <a:avLst>
              <a:gd name="adj1" fmla="val 50000"/>
              <a:gd name="adj2" fmla="val 46265"/>
            </a:avLst>
          </a:prstGeom>
          <a:solidFill>
            <a:srgbClr val="B54B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2251603" y="4287036"/>
            <a:ext cx="24962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Hard skills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в проектах ФГОС</a:t>
            </a:r>
            <a:endParaRPr lang="ru-RU" dirty="0"/>
          </a:p>
        </p:txBody>
      </p:sp>
      <p:sp>
        <p:nvSpPr>
          <p:cNvPr id="7" name="Загнутый угол 6"/>
          <p:cNvSpPr/>
          <p:nvPr/>
        </p:nvSpPr>
        <p:spPr>
          <a:xfrm>
            <a:off x="2251602" y="5153292"/>
            <a:ext cx="9601067" cy="1368151"/>
          </a:xfrm>
          <a:prstGeom prst="foldedCorner">
            <a:avLst/>
          </a:prstGeom>
          <a:solidFill>
            <a:srgbClr val="B54B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dirty="0" smtClean="0">
                <a:solidFill>
                  <a:schemeClr val="tx1"/>
                </a:solidFill>
                <a:sym typeface="Symbol"/>
              </a:rPr>
              <a:t>отражены</a:t>
            </a:r>
            <a:r>
              <a:rPr lang="ru-RU" sz="1600" dirty="0">
                <a:solidFill>
                  <a:schemeClr val="tx1"/>
                </a:solidFill>
                <a:sym typeface="Symbol"/>
              </a:rPr>
              <a:t>:</a:t>
            </a:r>
          </a:p>
          <a:p>
            <a:r>
              <a:rPr lang="ru-RU" sz="1600" dirty="0">
                <a:solidFill>
                  <a:schemeClr val="tx1"/>
                </a:solidFill>
                <a:sym typeface="Symbol"/>
              </a:rPr>
              <a:t>в требованиях к предметным результатам (русский язык, литература, иностранный язык, математика, информатика, обществознание), </a:t>
            </a:r>
          </a:p>
          <a:p>
            <a:r>
              <a:rPr lang="ru-RU" sz="1600" dirty="0">
                <a:solidFill>
                  <a:schemeClr val="tx1"/>
                </a:solidFill>
                <a:sym typeface="Symbol"/>
              </a:rPr>
              <a:t>в требования к личностным </a:t>
            </a:r>
            <a:r>
              <a:rPr lang="ru-RU" sz="1600" dirty="0" smtClean="0">
                <a:solidFill>
                  <a:schemeClr val="tx1"/>
                </a:solidFill>
                <a:sym typeface="Symbol"/>
              </a:rPr>
              <a:t>результатам (гражданско-патриотическое воспитание, эстетическое воспитание, экологическое воспитание)</a:t>
            </a:r>
            <a:endParaRPr lang="ru-RU" sz="1600" dirty="0">
              <a:solidFill>
                <a:schemeClr val="tx1"/>
              </a:solidFill>
              <a:sym typeface="Symbol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018587" y="4067111"/>
            <a:ext cx="2400267" cy="1340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6637" y="188640"/>
            <a:ext cx="11324167" cy="768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="" xmlns:a16="http://schemas.microsoft.com/office/drawing/2014/main" id="{E53F9E4F-6A61-7746-8056-12E8DC78D6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36" y="50303"/>
            <a:ext cx="744583" cy="99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6289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75520" y="764704"/>
            <a:ext cx="9025003" cy="3456384"/>
          </a:xfrm>
        </p:spPr>
      </p:pic>
      <p:sp>
        <p:nvSpPr>
          <p:cNvPr id="5" name="Штриховая стрелка вправо 4"/>
          <p:cNvSpPr/>
          <p:nvPr/>
        </p:nvSpPr>
        <p:spPr>
          <a:xfrm rot="5400000">
            <a:off x="5519936" y="1676806"/>
            <a:ext cx="1440160" cy="5088565"/>
          </a:xfrm>
          <a:prstGeom prst="stripedRightArrow">
            <a:avLst>
              <a:gd name="adj1" fmla="val 50000"/>
              <a:gd name="adj2" fmla="val 46265"/>
            </a:avLst>
          </a:prstGeom>
          <a:solidFill>
            <a:srgbClr val="E7851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4991878" y="3717033"/>
            <a:ext cx="24962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Soft skills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в проектах ФГОС</a:t>
            </a:r>
            <a:endParaRPr lang="ru-RU" dirty="0"/>
          </a:p>
        </p:txBody>
      </p:sp>
      <p:sp>
        <p:nvSpPr>
          <p:cNvPr id="7" name="Загнутый угол 6"/>
          <p:cNvSpPr/>
          <p:nvPr/>
        </p:nvSpPr>
        <p:spPr>
          <a:xfrm>
            <a:off x="815413" y="5013176"/>
            <a:ext cx="10945216" cy="1656184"/>
          </a:xfrm>
          <a:prstGeom prst="foldedCorner">
            <a:avLst/>
          </a:prstGeom>
          <a:solidFill>
            <a:srgbClr val="E7851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b="1" dirty="0" smtClean="0">
                <a:solidFill>
                  <a:schemeClr val="tx1"/>
                </a:solidFill>
              </a:rPr>
              <a:t>Критическое </a:t>
            </a:r>
            <a:r>
              <a:rPr lang="ru-RU" b="1" dirty="0">
                <a:solidFill>
                  <a:schemeClr val="tx1"/>
                </a:solidFill>
              </a:rPr>
              <a:t>мышление и </a:t>
            </a:r>
            <a:r>
              <a:rPr lang="ru-RU" b="1" dirty="0" smtClean="0">
                <a:solidFill>
                  <a:schemeClr val="tx1"/>
                </a:solidFill>
              </a:rPr>
              <a:t>Креативность </a:t>
            </a:r>
            <a:r>
              <a:rPr lang="ru-RU" dirty="0">
                <a:solidFill>
                  <a:schemeClr val="tx1"/>
                </a:solidFill>
                <a:sym typeface="Symbol"/>
              </a:rPr>
              <a:t> требования к </a:t>
            </a:r>
            <a:r>
              <a:rPr lang="ru-RU" dirty="0" err="1">
                <a:solidFill>
                  <a:schemeClr val="tx1"/>
                </a:solidFill>
                <a:sym typeface="Symbol"/>
              </a:rPr>
              <a:t>метапредметным</a:t>
            </a:r>
            <a:r>
              <a:rPr lang="ru-RU" dirty="0">
                <a:solidFill>
                  <a:schemeClr val="tx1"/>
                </a:solidFill>
                <a:sym typeface="Symbol"/>
              </a:rPr>
              <a:t> результатам (базовые логические действия и работа с информацией)</a:t>
            </a:r>
          </a:p>
          <a:p>
            <a:r>
              <a:rPr lang="ru-RU" b="1" dirty="0" smtClean="0">
                <a:solidFill>
                  <a:schemeClr val="tx1"/>
                </a:solidFill>
              </a:rPr>
              <a:t>Коммуникация </a:t>
            </a:r>
            <a:r>
              <a:rPr lang="ru-RU" dirty="0">
                <a:solidFill>
                  <a:schemeClr val="tx1"/>
                </a:solidFill>
                <a:sym typeface="Symbol"/>
              </a:rPr>
              <a:t> </a:t>
            </a:r>
            <a:r>
              <a:rPr lang="ru-RU" dirty="0" err="1">
                <a:solidFill>
                  <a:schemeClr val="tx1"/>
                </a:solidFill>
                <a:sym typeface="Symbol"/>
              </a:rPr>
              <a:t>метапредметные</a:t>
            </a:r>
            <a:r>
              <a:rPr lang="ru-RU" dirty="0">
                <a:solidFill>
                  <a:schemeClr val="tx1"/>
                </a:solidFill>
                <a:sym typeface="Symbol"/>
              </a:rPr>
              <a:t> компетенции (универсальные учебные коммуникативные действия – общение);</a:t>
            </a:r>
          </a:p>
          <a:p>
            <a:r>
              <a:rPr lang="ru-RU" b="1" dirty="0" smtClean="0">
                <a:solidFill>
                  <a:schemeClr val="tx1"/>
                </a:solidFill>
                <a:sym typeface="Symbol"/>
              </a:rPr>
              <a:t>Сотрудничество</a:t>
            </a:r>
            <a:r>
              <a:rPr lang="ru-RU" dirty="0" smtClean="0">
                <a:sym typeface="Symbol"/>
              </a:rPr>
              <a:t> </a:t>
            </a:r>
            <a:r>
              <a:rPr lang="ru-RU" dirty="0">
                <a:solidFill>
                  <a:schemeClr val="tx1"/>
                </a:solidFill>
                <a:sym typeface="Symbol"/>
              </a:rPr>
              <a:t> </a:t>
            </a:r>
            <a:r>
              <a:rPr lang="ru-RU" dirty="0" err="1">
                <a:solidFill>
                  <a:schemeClr val="tx1"/>
                </a:solidFill>
                <a:sym typeface="Symbol"/>
              </a:rPr>
              <a:t>метапредметные</a:t>
            </a:r>
            <a:r>
              <a:rPr lang="ru-RU" dirty="0">
                <a:solidFill>
                  <a:schemeClr val="tx1"/>
                </a:solidFill>
                <a:sym typeface="Symbol"/>
              </a:rPr>
              <a:t> компетенции (совместная деятельность)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3917" y="116632"/>
            <a:ext cx="11324167" cy="768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="" xmlns:a16="http://schemas.microsoft.com/office/drawing/2014/main" id="{E53F9E4F-6A61-7746-8056-12E8DC78D6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36" y="50303"/>
            <a:ext cx="744583" cy="99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348372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Объект 3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2971" y="764704"/>
            <a:ext cx="9025003" cy="3456384"/>
          </a:xfrm>
        </p:spPr>
      </p:pic>
      <p:sp>
        <p:nvSpPr>
          <p:cNvPr id="5" name="Штриховая стрелка вправо 4"/>
          <p:cNvSpPr/>
          <p:nvPr/>
        </p:nvSpPr>
        <p:spPr>
          <a:xfrm rot="5400000">
            <a:off x="8582048" y="1625770"/>
            <a:ext cx="1014173" cy="5616624"/>
          </a:xfrm>
          <a:prstGeom prst="stripedRightArrow">
            <a:avLst>
              <a:gd name="adj1" fmla="val 50000"/>
              <a:gd name="adj2" fmla="val 46265"/>
            </a:avLst>
          </a:prstGeom>
          <a:solidFill>
            <a:srgbClr val="2E97D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7840995" y="4110917"/>
            <a:ext cx="249627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dirty="0" smtClean="0"/>
              <a:t>Soft skills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в проектах ФГОС</a:t>
            </a:r>
            <a:endParaRPr lang="ru-RU" dirty="0"/>
          </a:p>
        </p:txBody>
      </p:sp>
      <p:sp>
        <p:nvSpPr>
          <p:cNvPr id="7" name="Загнутый угол 6"/>
          <p:cNvSpPr/>
          <p:nvPr/>
        </p:nvSpPr>
        <p:spPr>
          <a:xfrm>
            <a:off x="842864" y="5013176"/>
            <a:ext cx="10945216" cy="1728192"/>
          </a:xfrm>
          <a:prstGeom prst="foldedCorner">
            <a:avLst/>
          </a:prstGeom>
          <a:solidFill>
            <a:srgbClr val="2E97D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600" b="1" u="sng" dirty="0" smtClean="0">
                <a:solidFill>
                  <a:schemeClr val="tx1"/>
                </a:solidFill>
              </a:rPr>
              <a:t>Любознательность </a:t>
            </a:r>
            <a:r>
              <a:rPr lang="ru-RU" sz="1600" dirty="0">
                <a:solidFill>
                  <a:schemeClr val="tx1"/>
                </a:solidFill>
              </a:rPr>
              <a:t>и </a:t>
            </a:r>
            <a:r>
              <a:rPr lang="ru-RU" sz="1600" b="1" u="sng" dirty="0" smtClean="0">
                <a:solidFill>
                  <a:schemeClr val="tx1"/>
                </a:solidFill>
              </a:rPr>
              <a:t>Инициативность </a:t>
            </a:r>
            <a:r>
              <a:rPr lang="ru-RU" sz="1600" dirty="0">
                <a:solidFill>
                  <a:schemeClr val="tx1"/>
                </a:solidFill>
                <a:sym typeface="Symbol"/>
              </a:rPr>
              <a:t> требования к личностным результатам (ценность научного познания)</a:t>
            </a:r>
          </a:p>
          <a:p>
            <a:r>
              <a:rPr lang="ru-RU" sz="1600" b="1" u="sng" dirty="0" smtClean="0">
                <a:solidFill>
                  <a:schemeClr val="tx1"/>
                </a:solidFill>
              </a:rPr>
              <a:t>Упорство/настойчивость</a:t>
            </a:r>
            <a:r>
              <a:rPr lang="ru-RU" sz="1600" dirty="0" smtClean="0">
                <a:solidFill>
                  <a:schemeClr val="tx1"/>
                </a:solidFill>
              </a:rPr>
              <a:t> </a:t>
            </a:r>
            <a:r>
              <a:rPr lang="ru-RU" sz="1600" dirty="0">
                <a:solidFill>
                  <a:schemeClr val="tx1"/>
                </a:solidFill>
              </a:rPr>
              <a:t>и </a:t>
            </a:r>
            <a:r>
              <a:rPr lang="ru-RU" sz="1600" b="1" u="sng" dirty="0" smtClean="0">
                <a:solidFill>
                  <a:schemeClr val="tx1"/>
                </a:solidFill>
              </a:rPr>
              <a:t>Приспособляемость</a:t>
            </a:r>
            <a:r>
              <a:rPr lang="ru-RU" sz="1600" dirty="0" smtClean="0">
                <a:solidFill>
                  <a:schemeClr val="tx1"/>
                </a:solidFill>
              </a:rPr>
              <a:t> </a:t>
            </a:r>
            <a:r>
              <a:rPr lang="ru-RU" sz="1600" dirty="0">
                <a:solidFill>
                  <a:schemeClr val="tx1"/>
                </a:solidFill>
                <a:sym typeface="Symbol"/>
              </a:rPr>
              <a:t> требования к </a:t>
            </a:r>
            <a:r>
              <a:rPr lang="ru-RU" sz="1600" dirty="0" err="1">
                <a:solidFill>
                  <a:schemeClr val="tx1"/>
                </a:solidFill>
                <a:sym typeface="Symbol"/>
              </a:rPr>
              <a:t>метапредметным</a:t>
            </a:r>
            <a:r>
              <a:rPr lang="ru-RU" sz="1600" dirty="0">
                <a:solidFill>
                  <a:schemeClr val="tx1"/>
                </a:solidFill>
                <a:sym typeface="Symbol"/>
              </a:rPr>
              <a:t> результатам (универсальные коммуникативные и регулятивные действия);</a:t>
            </a:r>
          </a:p>
          <a:p>
            <a:r>
              <a:rPr lang="ru-RU" sz="1600" b="1" u="sng" dirty="0" smtClean="0">
                <a:solidFill>
                  <a:schemeClr val="tx1"/>
                </a:solidFill>
                <a:sym typeface="Symbol"/>
              </a:rPr>
              <a:t>Лидерство</a:t>
            </a:r>
            <a:r>
              <a:rPr lang="ru-RU" sz="1600" dirty="0" smtClean="0">
                <a:solidFill>
                  <a:schemeClr val="tx1"/>
                </a:solidFill>
                <a:sym typeface="Symbol"/>
              </a:rPr>
              <a:t> </a:t>
            </a:r>
            <a:r>
              <a:rPr lang="ru-RU" sz="1600" dirty="0">
                <a:solidFill>
                  <a:schemeClr val="tx1"/>
                </a:solidFill>
                <a:sym typeface="Symbol"/>
              </a:rPr>
              <a:t>и </a:t>
            </a:r>
            <a:r>
              <a:rPr lang="ru-RU" sz="1600" b="1" u="sng" dirty="0" smtClean="0">
                <a:solidFill>
                  <a:schemeClr val="tx1"/>
                </a:solidFill>
                <a:sym typeface="Symbol"/>
              </a:rPr>
              <a:t>Социальная </a:t>
            </a:r>
            <a:r>
              <a:rPr lang="ru-RU" sz="1600" b="1" u="sng" dirty="0">
                <a:solidFill>
                  <a:schemeClr val="tx1"/>
                </a:solidFill>
                <a:sym typeface="Symbol"/>
              </a:rPr>
              <a:t>осведомленность</a:t>
            </a:r>
            <a:r>
              <a:rPr lang="ru-RU" sz="1600" dirty="0">
                <a:solidFill>
                  <a:schemeClr val="tx1"/>
                </a:solidFill>
                <a:sym typeface="Symbol"/>
              </a:rPr>
              <a:t>  требования к </a:t>
            </a:r>
            <a:r>
              <a:rPr lang="ru-RU" sz="1600" dirty="0" err="1">
                <a:solidFill>
                  <a:schemeClr val="tx1"/>
                </a:solidFill>
                <a:sym typeface="Symbol"/>
              </a:rPr>
              <a:t>метапредметным</a:t>
            </a:r>
            <a:r>
              <a:rPr lang="ru-RU" sz="1600" dirty="0">
                <a:solidFill>
                  <a:schemeClr val="tx1"/>
                </a:solidFill>
                <a:sym typeface="Symbol"/>
              </a:rPr>
              <a:t> результатам (совместная деятельность)</a:t>
            </a:r>
            <a:endParaRPr lang="ru-RU" sz="1600" dirty="0">
              <a:solidFill>
                <a:schemeClr val="tx1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080688" y="3926995"/>
            <a:ext cx="2400267" cy="13403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8777" y="116632"/>
            <a:ext cx="11324167" cy="768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2">
            <a:extLst>
              <a:ext uri="{FF2B5EF4-FFF2-40B4-BE49-F238E27FC236}">
                <a16:creationId xmlns="" xmlns:a16="http://schemas.microsoft.com/office/drawing/2014/main" id="{E53F9E4F-6A61-7746-8056-12E8DC78D6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36" y="50303"/>
            <a:ext cx="744583" cy="99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790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70718036"/>
              </p:ext>
            </p:extLst>
          </p:nvPr>
        </p:nvGraphicFramePr>
        <p:xfrm>
          <a:off x="1055788" y="1196752"/>
          <a:ext cx="10800852" cy="51846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1438805" y="188640"/>
            <a:ext cx="1075319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/>
              <a:t>Соответствие проектов ФГОС </a:t>
            </a:r>
          </a:p>
          <a:p>
            <a:r>
              <a:rPr lang="ru-RU" sz="2000" b="1" dirty="0" smtClean="0"/>
              <a:t>Стратегии научно-технологического развития Российской Федерации</a:t>
            </a:r>
            <a:endParaRPr lang="ru-RU" sz="2000" b="1" dirty="0"/>
          </a:p>
        </p:txBody>
      </p:sp>
      <p:pic>
        <p:nvPicPr>
          <p:cNvPr id="4" name="Picture 2">
            <a:extLst>
              <a:ext uri="{FF2B5EF4-FFF2-40B4-BE49-F238E27FC236}">
                <a16:creationId xmlns="" xmlns:a16="http://schemas.microsoft.com/office/drawing/2014/main" id="{E53F9E4F-6A61-7746-8056-12E8DC78D6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36" y="50303"/>
            <a:ext cx="744583" cy="99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63836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18830988"/>
              </p:ext>
            </p:extLst>
          </p:nvPr>
        </p:nvGraphicFramePr>
        <p:xfrm>
          <a:off x="1055440" y="980728"/>
          <a:ext cx="10897211" cy="568863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27448" y="116632"/>
            <a:ext cx="10835217" cy="841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" name="Picture 2">
            <a:extLst>
              <a:ext uri="{FF2B5EF4-FFF2-40B4-BE49-F238E27FC236}">
                <a16:creationId xmlns="" xmlns:a16="http://schemas.microsoft.com/office/drawing/2014/main" id="{E53F9E4F-6A61-7746-8056-12E8DC78D6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336" y="50303"/>
            <a:ext cx="744583" cy="9967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817688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0ZvYtoH25toepY54m.d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035</TotalTime>
  <Words>1381</Words>
  <Application>Microsoft Office PowerPoint</Application>
  <PresentationFormat>Широкоэкранный</PresentationFormat>
  <Paragraphs>241</Paragraphs>
  <Slides>22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2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36" baseType="lpstr">
      <vt:lpstr>Aharoni</vt:lpstr>
      <vt:lpstr>Arial</vt:lpstr>
      <vt:lpstr>Bookman Old Style</vt:lpstr>
      <vt:lpstr>Calibri</vt:lpstr>
      <vt:lpstr>Gill Sans</vt:lpstr>
      <vt:lpstr>M.Video</vt:lpstr>
      <vt:lpstr>Open Sans SemiBold</vt:lpstr>
      <vt:lpstr>Symbol</vt:lpstr>
      <vt:lpstr>Tahoma</vt:lpstr>
      <vt:lpstr>Times New Roman</vt:lpstr>
      <vt:lpstr>Wingdings</vt:lpstr>
      <vt:lpstr>Yu Mincho Light</vt:lpstr>
      <vt:lpstr>Тема Office</vt:lpstr>
      <vt:lpstr>think-cell Slide</vt:lpstr>
      <vt:lpstr> ОБНОВЛЕНИЕ СОДЕРЖАНИЯ  КАК ИНСТРУМЕНТ ПОВЫШЕНИЯ КАЧЕСТВА ОБРАЗОВАНИЯ </vt:lpstr>
      <vt:lpstr>Презентация PowerPoint</vt:lpstr>
      <vt:lpstr>Обновленные ФГОС</vt:lpstr>
      <vt:lpstr>Ключевая педагогическая задача:  создание условий инициирующих действие обучающегося Требования к результатам реализации ОП сформулированы в категориях системно-деятельностного подход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еханизмы обеспечения вариативности образовательных программ, предусмотренные ФГОС</vt:lpstr>
      <vt:lpstr>Проектная деятельность в проектах ФГОС</vt:lpstr>
      <vt:lpstr>Особенности требований к ИОС в проектах ФГОС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Sofia</dc:creator>
  <cp:lastModifiedBy>Е. В. Ковалева</cp:lastModifiedBy>
  <cp:revision>187</cp:revision>
  <cp:lastPrinted>2018-09-20T15:14:37Z</cp:lastPrinted>
  <dcterms:created xsi:type="dcterms:W3CDTF">2018-09-17T13:51:28Z</dcterms:created>
  <dcterms:modified xsi:type="dcterms:W3CDTF">2021-08-17T13:30:49Z</dcterms:modified>
</cp:coreProperties>
</file>